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4"/>
  </p:sldMasterIdLst>
  <p:notesMasterIdLst>
    <p:notesMasterId r:id="rId13"/>
  </p:notesMasterIdLst>
  <p:handoutMasterIdLst>
    <p:handoutMasterId r:id="rId14"/>
  </p:handoutMasterIdLst>
  <p:sldIdLst>
    <p:sldId id="263" r:id="rId5"/>
    <p:sldId id="341" r:id="rId6"/>
    <p:sldId id="340" r:id="rId7"/>
    <p:sldId id="345" r:id="rId8"/>
    <p:sldId id="343" r:id="rId9"/>
    <p:sldId id="344" r:id="rId10"/>
    <p:sldId id="286" r:id="rId11"/>
    <p:sldId id="316" r:id="rId12"/>
  </p:sldIdLst>
  <p:sldSz cx="12192000" cy="6858000"/>
  <p:notesSz cx="6858000" cy="9144000"/>
  <p:custDataLst>
    <p:tags r:id="rId15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Presentation" id="{B876642A-CAE4-49D5-8EEE-113F5705A5F2}">
          <p14:sldIdLst>
            <p14:sldId id="263"/>
            <p14:sldId id="341"/>
            <p14:sldId id="340"/>
            <p14:sldId id="345"/>
            <p14:sldId id="343"/>
            <p14:sldId id="344"/>
            <p14:sldId id="286"/>
            <p14:sldId id="316"/>
          </p14:sldIdLst>
        </p14:section>
        <p14:section name="Back up slides" id="{7C158C2B-C8AD-42F3-B142-2CD313E20D57}">
          <p14:sldIdLst/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900"/>
    <a:srgbClr val="00779A"/>
    <a:srgbClr val="FFFFFF"/>
    <a:srgbClr val="1C768F"/>
    <a:srgbClr val="09B2AC"/>
    <a:srgbClr val="014A6B"/>
    <a:srgbClr val="4DC7D2"/>
    <a:srgbClr val="04B1AA"/>
    <a:srgbClr val="32BBC7"/>
    <a:srgbClr val="05B1A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C083E6E3-FA7D-4D7B-A595-EF9225AFEA82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C083E6E3-FA7D-4D7B-A595-EF9225AFEA82}" styleName="Helle Formatvorlage 1 - Akz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26" autoAdjust="0"/>
    <p:restoredTop sz="96008" autoAdjust="0"/>
  </p:normalViewPr>
  <p:slideViewPr>
    <p:cSldViewPr snapToGrid="0" showGuides="1">
      <p:cViewPr varScale="1">
        <p:scale>
          <a:sx n="71" d="100"/>
          <a:sy n="71" d="100"/>
        </p:scale>
        <p:origin x="412" y="4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80" d="100"/>
          <a:sy n="80" d="100"/>
        </p:scale>
        <p:origin x="2874" y="10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notesMaster" Target="notesMasters/notesMaster1.xml"/><Relationship Id="rId18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tags" Target="tags/tag1.xml"/><Relationship Id="rId10" Type="http://schemas.openxmlformats.org/officeDocument/2006/relationships/slide" Target="slides/slide6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handoutMaster" Target="handoutMasters/handout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B028EFDA-A75E-49AB-9C1C-E96D5D820198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9DB3184-593B-4E78-B58C-DA62E4A2A4A3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C51B798-6D2C-417B-AF46-ECB70983C150}" type="datetimeFigureOut">
              <a:rPr lang="en-US" smtClean="0"/>
              <a:t>11/3/2025</a:t>
            </a:fld>
            <a:endParaRPr lang="en-US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015F87B-7E94-4DDB-9703-3B62B77C5F8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7C9CA73-2501-4D43-9D8D-E09D9E3F3DF7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8651251-5CB6-4896-AAF1-C5E7C80339FD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5484496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D00A665-AB63-487C-A689-A96D5AA0C864}" type="datetimeFigureOut">
              <a:rPr lang="en-US" smtClean="0"/>
              <a:t>11/3/2025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455821" y="1143000"/>
            <a:ext cx="3946358" cy="2219826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4629F0A-9DE2-44AB-9A84-CC28BAF7B397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266562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b="0" kern="1200">
        <a:solidFill>
          <a:schemeClr val="accent1"/>
        </a:solidFill>
        <a:latin typeface="+mj-lt"/>
        <a:ea typeface="+mn-ea"/>
        <a:cs typeface="+mn-cs"/>
      </a:defRPr>
    </a:lvl1pPr>
    <a:lvl2pPr marL="180975" indent="-180975" algn="l" defTabSz="914400" rtl="0" eaLnBrk="1" latinLnBrk="0" hangingPunct="1">
      <a:buClr>
        <a:schemeClr val="accent1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360363" indent="-179388" algn="l" defTabSz="914400" rtl="0" eaLnBrk="1" latinLnBrk="0" hangingPunct="1">
      <a:buClr>
        <a:schemeClr val="bg2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41338" indent="-180975" algn="l" defTabSz="914400" rtl="0" eaLnBrk="1" latinLnBrk="0" hangingPunct="1">
      <a:buClr>
        <a:schemeClr val="bg2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722313" indent="-180975" algn="l" defTabSz="914400" rtl="0" eaLnBrk="1" latinLnBrk="0" hangingPunct="1">
      <a:buClr>
        <a:schemeClr val="bg2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5" Type="http://schemas.openxmlformats.org/officeDocument/2006/relationships/image" Target="../media/image4.jpeg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5" Type="http://schemas.openxmlformats.org/officeDocument/2006/relationships/image" Target="../media/image5.jpg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Relationship Id="rId5" Type="http://schemas.openxmlformats.org/officeDocument/2006/relationships/image" Target="../media/image4.jpeg"/><Relationship Id="rId4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8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9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0.xml"/><Relationship Id="rId6" Type="http://schemas.openxmlformats.org/officeDocument/2006/relationships/image" Target="../media/image3.png"/><Relationship Id="rId5" Type="http://schemas.openxmlformats.org/officeDocument/2006/relationships/image" Target="../media/image4.jpeg"/><Relationship Id="rId4" Type="http://schemas.openxmlformats.org/officeDocument/2006/relationships/image" Target="../media/image1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1.xml"/><Relationship Id="rId6" Type="http://schemas.openxmlformats.org/officeDocument/2006/relationships/image" Target="../media/image3.png"/><Relationship Id="rId5" Type="http://schemas.openxmlformats.org/officeDocument/2006/relationships/image" Target="../media/image5.jpg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6" Type="http://schemas.openxmlformats.org/officeDocument/2006/relationships/image" Target="../media/image3.png"/><Relationship Id="rId5" Type="http://schemas.openxmlformats.org/officeDocument/2006/relationships/image" Target="../media/image4.jpe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6" Type="http://schemas.openxmlformats.org/officeDocument/2006/relationships/image" Target="../media/image3.png"/><Relationship Id="rId5" Type="http://schemas.openxmlformats.org/officeDocument/2006/relationships/image" Target="../media/image5.jpg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große Headline ob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838081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6B002FD9-AF19-4ED6-84E1-C634A79B2BA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75388" y="2836283"/>
            <a:ext cx="5916612" cy="3148592"/>
          </a:xfrm>
          <a:gradFill flip="none" rotWithShape="1">
            <a:gsLst>
              <a:gs pos="33744">
                <a:srgbClr val="00779A">
                  <a:lumMod val="100000"/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80000">
                <a:srgbClr val="4DC7D2">
                  <a:lumMod val="90000"/>
                  <a:lumOff val="10000"/>
                  <a:alpha val="95000"/>
                </a:srgbClr>
              </a:gs>
              <a:gs pos="100000">
                <a:srgbClr val="04B1AA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360000" tIns="360000" rIns="360000" bIns="360000" anchor="b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20"/>
              </a:lnSpc>
              <a:spcAft>
                <a:spcPts val="1600"/>
              </a:spcAft>
              <a:defRPr sz="416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spcAft>
                <a:spcPts val="0"/>
              </a:spcAft>
              <a:defRPr sz="160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32 </a:t>
            </a:r>
            <a:r>
              <a:rPr lang="de-DE" dirty="0" err="1"/>
              <a:t>pt</a:t>
            </a:r>
            <a:endParaRPr lang="de-DE" dirty="0"/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/>
              <a:t>Subline/Referent/Datum</a:t>
            </a:r>
            <a:endParaRPr lang="de-DE" dirty="0"/>
          </a:p>
          <a:p>
            <a:pPr lvl="3"/>
            <a:r>
              <a:rPr lang="de-DE"/>
              <a:t>Referenten</a:t>
            </a:r>
            <a:endParaRPr lang="de-DE" dirty="0"/>
          </a:p>
        </p:txBody>
      </p:sp>
      <p:pic>
        <p:nvPicPr>
          <p:cNvPr id="6" name="isi_rgb_modul_send_de">
            <a:extLst>
              <a:ext uri="{FF2B5EF4-FFF2-40B4-BE49-F238E27FC236}">
                <a16:creationId xmlns:a16="http://schemas.microsoft.com/office/drawing/2014/main" id="{9E52BB4F-9154-4677-A766-12E9B073ACBF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485774" y="485775"/>
            <a:ext cx="2520000" cy="1471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487151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 – Bild 2/3 randabfall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5B6287E-4A4F-4439-B422-A23539B268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258610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5B6287E-4A4F-4439-B422-A23539B268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Bildplatzhalter 7">
            <a:extLst>
              <a:ext uri="{FF2B5EF4-FFF2-40B4-BE49-F238E27FC236}">
                <a16:creationId xmlns:a16="http://schemas.microsoft.com/office/drawing/2014/main" id="{43168385-808A-40CF-ACBB-25E2FEB39C9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1700213"/>
            <a:ext cx="6781800" cy="4452937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959FA541-8597-4991-9A2A-D86D39840ED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75388" y="3149600"/>
            <a:ext cx="5916612" cy="2176723"/>
          </a:xfrm>
          <a:gradFill flip="none" rotWithShape="1">
            <a:gsLst>
              <a:gs pos="33744">
                <a:srgbClr val="00779A">
                  <a:lumMod val="100000"/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5000">
                <a:srgbClr val="4DC7D2">
                  <a:lumMod val="90000"/>
                  <a:lumOff val="10000"/>
                  <a:alpha val="95000"/>
                </a:srgbClr>
              </a:gs>
              <a:gs pos="100000">
                <a:srgbClr val="04B1AA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360000" tIns="360000" rIns="360000" bIns="360000"/>
          <a:lstStyle>
            <a:lvl1pPr>
              <a:lnSpc>
                <a:spcPct val="11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20"/>
              </a:lnSpc>
              <a:spcAft>
                <a:spcPts val="1600"/>
              </a:spcAft>
              <a:defRPr sz="4160" b="1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00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LT Com 65 Bold" panose="020B0803030504020204" pitchFamily="34" charset="0"/>
                <a:ea typeface="+mn-ea"/>
                <a:cs typeface="+mn-cs"/>
              </a:rPr>
              <a:t>Headline, Frutiger LT </a:t>
            </a:r>
            <a:r>
              <a:rPr kumimoji="0" lang="de-DE" sz="1600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LT Com 65 Bold" panose="020B0803030504020204" pitchFamily="34" charset="0"/>
                <a:ea typeface="+mn-ea"/>
                <a:cs typeface="+mn-cs"/>
              </a:rPr>
              <a:t>Com</a:t>
            </a:r>
            <a:r>
              <a:rPr kumimoji="0" lang="de-DE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LT Com 65 Bold" panose="020B0803030504020204" pitchFamily="34" charset="0"/>
                <a:ea typeface="+mn-ea"/>
                <a:cs typeface="+mn-cs"/>
              </a:rPr>
              <a:t> Bd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LT Com 65 Bold" panose="020B0803030504020204" pitchFamily="34" charset="0"/>
                <a:ea typeface="+mn-ea"/>
                <a:cs typeface="+mn-cs"/>
              </a:rPr>
              <a:t>, 16 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LT Com 65 Bold" panose="020B0803030504020204" pitchFamily="34" charset="0"/>
                <a:ea typeface="+mn-ea"/>
                <a:cs typeface="+mn-cs"/>
              </a:rPr>
              <a:t>pt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CEB97AB-0648-4C20-81AF-315192BBB0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Bd</a:t>
            </a:r>
            <a:r>
              <a:rPr lang="de-DE" dirty="0"/>
              <a:t>, 24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8349B4F5-3985-40FA-BB6F-4069C03E55E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9425" y="778321"/>
            <a:ext cx="11233150" cy="319318"/>
          </a:xfrm>
        </p:spPr>
        <p:txBody>
          <a:bodyPr/>
          <a:lstStyle>
            <a:lvl1pPr>
              <a:defRPr sz="2000" b="0">
                <a:solidFill>
                  <a:schemeClr val="accent2"/>
                </a:solidFill>
                <a:latin typeface="+mn-lt"/>
              </a:defRPr>
            </a:lvl1pPr>
            <a:lvl2pPr>
              <a:defRPr sz="2400" b="1"/>
            </a:lvl2pPr>
            <a:lvl3pPr>
              <a:defRPr sz="2400" b="1"/>
            </a:lvl3pPr>
            <a:lvl4pPr>
              <a:defRPr sz="2400" b="1"/>
            </a:lvl4pPr>
            <a:lvl5pPr>
              <a:defRPr sz="2400" b="1"/>
            </a:lvl5pPr>
          </a:lstStyle>
          <a:p>
            <a:r>
              <a:rPr lang="de-DE" dirty="0" err="1"/>
              <a:t>Subline</a:t>
            </a:r>
            <a:r>
              <a:rPr lang="de-DE" dirty="0"/>
              <a:t>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20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432A0-F513-4930-BCD5-B4BD00DAAEF3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7E2D82BB-1548-4144-8D76-C0C431EF1240}" type="datetime1">
              <a:rPr lang="de-DE" noProof="0" smtClean="0"/>
              <a:t>03.11.2025</a:t>
            </a:fld>
            <a:endParaRPr lang="de-DE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7728DD29-2A8B-4A4D-A7BC-8DCCFF504368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de-DE" noProof="0"/>
              <a:t>© Fraunhofer ISI</a:t>
            </a:r>
            <a:endParaRPr lang="de-DE" noProof="0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FB0E97B0-79E4-4EE2-931A-53B30FA4703B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53413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27" userDrawn="1">
          <p15:clr>
            <a:srgbClr val="FBAE40"/>
          </p15:clr>
        </p15:guide>
        <p15:guide id="2" pos="3953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 – Beschreibung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5B6287E-4A4F-4439-B422-A23539B268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454869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5B6287E-4A4F-4439-B422-A23539B268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Bildplatzhalter 7">
            <a:extLst>
              <a:ext uri="{FF2B5EF4-FFF2-40B4-BE49-F238E27FC236}">
                <a16:creationId xmlns:a16="http://schemas.microsoft.com/office/drawing/2014/main" id="{43168385-808A-40CF-ACBB-25E2FEB39C9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79424" y="1700213"/>
            <a:ext cx="6315075" cy="4284662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959FA541-8597-4991-9A2A-D86D39840ED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75388" y="3149600"/>
            <a:ext cx="5916612" cy="1757057"/>
          </a:xfrm>
          <a:gradFill flip="none" rotWithShape="1">
            <a:gsLst>
              <a:gs pos="33744">
                <a:srgbClr val="00779A">
                  <a:lumMod val="100000"/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5000">
                <a:srgbClr val="4DC7D2">
                  <a:lumMod val="90000"/>
                  <a:lumOff val="10000"/>
                  <a:alpha val="95000"/>
                </a:srgbClr>
              </a:gs>
              <a:gs pos="100000">
                <a:srgbClr val="04B1AA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360000" tIns="360000" rIns="360000" bIns="360000"/>
          <a:lstStyle>
            <a:lvl1pPr>
              <a:lnSpc>
                <a:spcPct val="110000"/>
              </a:lnSpc>
              <a:spcAft>
                <a:spcPts val="0"/>
              </a:spcAft>
              <a:defRPr sz="2000" b="1">
                <a:solidFill>
                  <a:schemeClr val="bg1"/>
                </a:solidFill>
              </a:defRPr>
            </a:lvl1pPr>
            <a:lvl2pPr>
              <a:lnSpc>
                <a:spcPts val="2420"/>
              </a:lnSpc>
              <a:spcAft>
                <a:spcPts val="1000"/>
              </a:spcAft>
              <a:defRPr sz="2860" b="1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defRPr sz="1600" b="0">
                <a:solidFill>
                  <a:schemeClr val="bg1"/>
                </a:solidFill>
                <a:latin typeface="+mn-lt"/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Headline, </a:t>
            </a:r>
            <a:r>
              <a:rPr lang="de-DE"/>
              <a:t>Frutiger Bd </a:t>
            </a:r>
            <a:r>
              <a:rPr lang="de-DE" dirty="0"/>
              <a:t>20 </a:t>
            </a:r>
            <a:r>
              <a:rPr lang="de-DE" dirty="0" err="1"/>
              <a:t>pt</a:t>
            </a:r>
            <a:endParaRPr lang="de-DE" dirty="0"/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Frutiger LT </a:t>
            </a:r>
            <a:r>
              <a:rPr lang="de-DE" err="1"/>
              <a:t>Com</a:t>
            </a:r>
            <a:r>
              <a:rPr lang="de-DE"/>
              <a:t> Lt </a:t>
            </a:r>
            <a:r>
              <a:rPr lang="de-DE" dirty="0"/>
              <a:t>16 </a:t>
            </a:r>
            <a:r>
              <a:rPr lang="de-DE" dirty="0" err="1"/>
              <a:t>pt</a:t>
            </a:r>
            <a:r>
              <a:rPr lang="de-DE" dirty="0"/>
              <a:t> 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CEB97AB-0648-4C20-81AF-315192BBB0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Bd</a:t>
            </a:r>
            <a:r>
              <a:rPr lang="de-DE" dirty="0"/>
              <a:t>, 24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1600B162-5CE1-4081-9F76-7824B5C1719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9425" y="778321"/>
            <a:ext cx="11233150" cy="318933"/>
          </a:xfrm>
        </p:spPr>
        <p:txBody>
          <a:bodyPr/>
          <a:lstStyle>
            <a:lvl1pPr>
              <a:defRPr sz="2000" b="0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de-DE" dirty="0" err="1"/>
              <a:t>Subline</a:t>
            </a:r>
            <a:r>
              <a:rPr lang="de-DE" dirty="0"/>
              <a:t>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20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109C7DF2-26E3-41FC-BBA4-D04F3C8A789B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EB0D18CF-581D-4AFD-A78B-7C1FC7A80373}" type="datetime1">
              <a:rPr lang="de-DE" noProof="0" smtClean="0"/>
              <a:t>03.11.2025</a:t>
            </a:fld>
            <a:endParaRPr lang="de-DE" noProof="0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882DDE9E-9713-44C6-8C76-61BAF975C2F9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de-DE" noProof="0"/>
              <a:t>© Fraunhofer ISI</a:t>
            </a:r>
            <a:endParaRPr lang="de-DE" noProof="0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AA6C6CE5-B69A-4AFB-BE84-FD1E0C292281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640914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27" userDrawn="1">
          <p15:clr>
            <a:srgbClr val="FBAE40"/>
          </p15:clr>
        </p15:guide>
        <p15:guide id="2" pos="3953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 mit Beschreibung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388276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Grafik 7">
            <a:extLst>
              <a:ext uri="{FF2B5EF4-FFF2-40B4-BE49-F238E27FC236}">
                <a16:creationId xmlns:a16="http://schemas.microsoft.com/office/drawing/2014/main" id="{7355B916-F5BD-44FA-A46A-0DDC6C436E8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0278"/>
          <a:stretch/>
        </p:blipFill>
        <p:spPr>
          <a:xfrm>
            <a:off x="1" y="1"/>
            <a:ext cx="12192000" cy="6153150"/>
          </a:xfrm>
          <a:prstGeom prst="rect">
            <a:avLst/>
          </a:prstGeom>
        </p:spPr>
      </p:pic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8198" y="1999174"/>
            <a:ext cx="7346583" cy="1731243"/>
          </a:xfrm>
          <a:noFill/>
        </p:spPr>
        <p:txBody>
          <a:bodyPr wrap="square" lIns="0" tIns="0" rIns="0" bIns="0" anchor="t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1pPr>
            <a:lvl2pPr>
              <a:lnSpc>
                <a:spcPts val="3200"/>
              </a:lnSpc>
              <a:spcAft>
                <a:spcPts val="640"/>
              </a:spcAft>
              <a:defRPr sz="4160" b="1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ts val="2080"/>
              </a:lnSpc>
              <a:spcBef>
                <a:spcPts val="208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00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</a:t>
            </a:r>
            <a:br>
              <a:rPr lang="de-DE" dirty="0"/>
            </a:br>
            <a:r>
              <a:rPr lang="de-DE" dirty="0"/>
              <a:t>32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995B9307-B714-4F6E-A2FC-68DD27444FCD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099EC068-F541-4312-9801-35A60A69C50F}" type="datetime1">
              <a:rPr lang="de-DE" noProof="0" smtClean="0"/>
              <a:t>03.11.2025</a:t>
            </a:fld>
            <a:endParaRPr lang="de-DE" noProof="0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B0E546C-CA1A-4085-B98B-53E34E1FDA06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 noProof="0"/>
              <a:t>© Fraunhofer ISI</a:t>
            </a:r>
            <a:endParaRPr lang="de-DE" noProof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E55CE55-FB14-4252-8735-FF4916096C86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7996906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 mit Beschreibung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461676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Grafik 13">
            <a:extLst>
              <a:ext uri="{FF2B5EF4-FFF2-40B4-BE49-F238E27FC236}">
                <a16:creationId xmlns:a16="http://schemas.microsoft.com/office/drawing/2014/main" id="{6B89D7C3-6348-44ED-84FD-9C88687DD02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b="10278"/>
          <a:stretch/>
        </p:blipFill>
        <p:spPr>
          <a:xfrm>
            <a:off x="0" y="1"/>
            <a:ext cx="12192000" cy="6153150"/>
          </a:xfrm>
          <a:prstGeom prst="rect">
            <a:avLst/>
          </a:prstGeom>
        </p:spPr>
      </p:pic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8198" y="1999174"/>
            <a:ext cx="7346585" cy="1731243"/>
          </a:xfrm>
          <a:noFill/>
        </p:spPr>
        <p:txBody>
          <a:bodyPr wrap="square" lIns="0" tIns="0" rIns="0" bIns="0" anchor="t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1pPr>
            <a:lvl2pPr>
              <a:lnSpc>
                <a:spcPts val="3200"/>
              </a:lnSpc>
              <a:spcAft>
                <a:spcPts val="640"/>
              </a:spcAft>
              <a:defRPr sz="4160" b="1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ts val="2080"/>
              </a:lnSpc>
              <a:spcBef>
                <a:spcPts val="208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00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</a:t>
            </a:r>
            <a:br>
              <a:rPr lang="de-DE" dirty="0"/>
            </a:br>
            <a:r>
              <a:rPr lang="de-DE" dirty="0"/>
              <a:t>32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9D065BA7-85F8-4EE9-B742-24693D51D89F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6FEAC3F2-7FFD-4AA3-B399-D80547284A97}" type="datetime1">
              <a:rPr lang="de-DE" noProof="0" smtClean="0"/>
              <a:t>03.11.2025</a:t>
            </a:fld>
            <a:endParaRPr lang="de-DE" noProof="0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3A42444-18F6-4DEB-8F09-69EB8CDC5A9F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 noProof="0"/>
              <a:t>© Fraunhofer ISI</a:t>
            </a:r>
            <a:endParaRPr lang="de-DE" noProof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FF9E246-7B08-4017-9C02-690D30876177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9366009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2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2C7AF347-EE19-4A49-ACB3-3F7316F7E1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381869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Bd</a:t>
            </a:r>
            <a:r>
              <a:rPr lang="de-DE" dirty="0"/>
              <a:t>, 24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594FD133-02A3-4CCE-886B-5D61839C10E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8933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de-DE" dirty="0" err="1"/>
              <a:t>Subline</a:t>
            </a:r>
            <a:r>
              <a:rPr lang="de-DE" dirty="0"/>
              <a:t>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20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A89D932-8DCF-4ABE-8120-3CC2C601E53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8199" y="1703388"/>
            <a:ext cx="5437188" cy="2640595"/>
          </a:xfrm>
        </p:spPr>
        <p:txBody>
          <a:bodyPr/>
          <a:lstStyle/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77715D3E-BD63-49BD-96CA-087D6CFC2D2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275388" y="1703388"/>
            <a:ext cx="5437187" cy="2640595"/>
          </a:xfrm>
        </p:spPr>
        <p:txBody>
          <a:bodyPr/>
          <a:lstStyle/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502B98C0-CD3B-4858-9EBF-1ABA8A5F4851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B6209F03-70C9-4760-BCE3-39DF4609D022}" type="datetime1">
              <a:rPr lang="de-DE" noProof="0" smtClean="0"/>
              <a:t>03.11.2025</a:t>
            </a:fld>
            <a:endParaRPr lang="de-DE" noProof="0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0A9339C1-56D0-4552-B568-77AAE6F881E8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 noProof="0"/>
              <a:t>© Fraunhofer ISI</a:t>
            </a:r>
            <a:endParaRPr lang="de-DE" noProof="0" dirty="0"/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5C5B5A5E-5260-4ADB-9A78-B7522733BFDA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054292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 userDrawn="1">
          <p15:clr>
            <a:srgbClr val="FBAE40"/>
          </p15:clr>
        </p15:guide>
        <p15:guide id="2" pos="3727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3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19BFEDD4-0A61-4DAA-847E-5542C0836BF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152085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Bd</a:t>
            </a:r>
            <a:r>
              <a:rPr lang="de-DE" dirty="0"/>
              <a:t>, 24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41153CC-8B9B-4F23-A87D-CDC7D540D2D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9318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de-DE" dirty="0" err="1"/>
              <a:t>Subline</a:t>
            </a:r>
            <a:r>
              <a:rPr lang="de-DE" dirty="0"/>
              <a:t>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20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5AAA71AE-8A22-4F1C-8598-F96615B924D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8199" y="1703388"/>
            <a:ext cx="3492500" cy="2640595"/>
          </a:xfrm>
        </p:spPr>
        <p:txBody>
          <a:bodyPr/>
          <a:lstStyle/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6F587FD1-7E1D-43C5-AEEB-11FB82BEE61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32288" y="1703388"/>
            <a:ext cx="3492500" cy="2640595"/>
          </a:xfrm>
        </p:spPr>
        <p:txBody>
          <a:bodyPr/>
          <a:lstStyle>
            <a:lvl9pPr>
              <a:buAutoNum type="arabicPeriod"/>
              <a:defRPr/>
            </a:lvl9pPr>
          </a:lstStyle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2D288D47-B1E2-4566-B8EC-6D108A69525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220075" y="1703388"/>
            <a:ext cx="3492500" cy="2740025"/>
          </a:xfrm>
        </p:spPr>
        <p:txBody>
          <a:bodyPr/>
          <a:lstStyle/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D2C97856-E56E-4A7B-9E6B-645BE57712DA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03BB324E-0652-4956-802B-22F90E9AE02A}" type="datetime1">
              <a:rPr lang="de-DE" noProof="0" smtClean="0"/>
              <a:t>03.11.2025</a:t>
            </a:fld>
            <a:endParaRPr lang="de-DE" noProof="0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4167E4E3-ED26-4131-9FAE-8897857FA6CA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de-DE" noProof="0"/>
              <a:t>© Fraunhofer ISI</a:t>
            </a:r>
            <a:endParaRPr lang="de-DE" noProof="0" dirty="0"/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9BAB7EBF-0F2E-4271-97C4-6F0AE76E65E7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821823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02" userDrawn="1">
          <p15:clr>
            <a:srgbClr val="FBAE40"/>
          </p15:clr>
        </p15:guide>
        <p15:guide id="2" pos="2729" userDrawn="1">
          <p15:clr>
            <a:srgbClr val="FBAE40"/>
          </p15:clr>
        </p15:guide>
        <p15:guide id="3" pos="4929" userDrawn="1">
          <p15:clr>
            <a:srgbClr val="FBAE40"/>
          </p15:clr>
        </p15:guide>
        <p15:guide id="4" pos="5178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4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2C7AF347-EE19-4A49-ACB3-3F7316F7E1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621238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2C7AF347-EE19-4A49-ACB3-3F7316F7E1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Bd</a:t>
            </a:r>
            <a:r>
              <a:rPr lang="de-DE" dirty="0"/>
              <a:t>, 24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38C0110F-2625-4571-AE19-B8D78EAA1F9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9318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de-DE" dirty="0" err="1"/>
              <a:t>Subline</a:t>
            </a:r>
            <a:r>
              <a:rPr lang="de-DE" dirty="0"/>
              <a:t>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20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9EF34A9-6B75-4492-8A12-35A87E55C8A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8199" y="1703388"/>
            <a:ext cx="2520950" cy="2640595"/>
          </a:xfrm>
        </p:spPr>
        <p:txBody>
          <a:bodyPr/>
          <a:lstStyle/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2E310D88-98AF-4753-BFFB-0D7937A9728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95663" y="1703388"/>
            <a:ext cx="2520950" cy="2640595"/>
          </a:xfrm>
        </p:spPr>
        <p:txBody>
          <a:bodyPr/>
          <a:lstStyle/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CBED3F47-FB9A-471A-8A6D-C6AC2320A9A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75388" y="1703388"/>
            <a:ext cx="2520950" cy="2640595"/>
          </a:xfrm>
        </p:spPr>
        <p:txBody>
          <a:bodyPr/>
          <a:lstStyle/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4C0EBAA-DEB8-42ED-9FF0-97A1433AEB5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191625" y="1703388"/>
            <a:ext cx="2520950" cy="2640595"/>
          </a:xfrm>
        </p:spPr>
        <p:txBody>
          <a:bodyPr/>
          <a:lstStyle/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7CDA72C-07CE-4657-8099-B172E870DCFC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0E878C98-6804-4E74-85B1-6C6481F1CF28}" type="datetime1">
              <a:rPr lang="de-DE" noProof="0" smtClean="0"/>
              <a:t>03.11.2025</a:t>
            </a:fld>
            <a:endParaRPr lang="de-DE" noProof="0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CED38EC9-DDD7-4F50-82AB-C2270DB3077B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noProof="0"/>
              <a:t>© Fraunhofer ISI</a:t>
            </a:r>
            <a:endParaRPr lang="de-DE" noProof="0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5164EA96-4C0A-4998-B81C-3BACDCEA4AA9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470600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>
          <p15:clr>
            <a:srgbClr val="FBAE40"/>
          </p15:clr>
        </p15:guide>
        <p15:guide id="2" pos="3727">
          <p15:clr>
            <a:srgbClr val="FBAE40"/>
          </p15:clr>
        </p15:guide>
        <p15:guide id="3" pos="2139" userDrawn="1">
          <p15:clr>
            <a:srgbClr val="FBAE40"/>
          </p15:clr>
        </p15:guide>
        <p15:guide id="4" pos="1890" userDrawn="1">
          <p15:clr>
            <a:srgbClr val="FBAE40"/>
          </p15:clr>
        </p15:guide>
        <p15:guide id="5" pos="5541" userDrawn="1">
          <p15:clr>
            <a:srgbClr val="FBAE40"/>
          </p15:clr>
        </p15:guide>
        <p15:guide id="6" pos="5790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2 Spalten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33CE2A8B-DF0C-4ED8-B188-C82210FB660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320538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Bildplatzhalter 13">
            <a:extLst>
              <a:ext uri="{FF2B5EF4-FFF2-40B4-BE49-F238E27FC236}">
                <a16:creationId xmlns:a16="http://schemas.microsoft.com/office/drawing/2014/main" id="{CFAEF65E-2013-4B54-9E56-910C87DFAA2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 bwMode="gray">
          <a:xfrm>
            <a:off x="6275388" y="1"/>
            <a:ext cx="5916612" cy="6153149"/>
          </a:xfrm>
          <a:custGeom>
            <a:avLst/>
            <a:gdLst>
              <a:gd name="connsiteX0" fmla="*/ 0 w 5916612"/>
              <a:gd name="connsiteY0" fmla="*/ 0 h 6156325"/>
              <a:gd name="connsiteX1" fmla="*/ 5916612 w 5916612"/>
              <a:gd name="connsiteY1" fmla="*/ 0 h 6156325"/>
              <a:gd name="connsiteX2" fmla="*/ 5916612 w 5916612"/>
              <a:gd name="connsiteY2" fmla="*/ 6156325 h 6156325"/>
              <a:gd name="connsiteX3" fmla="*/ 0 w 5916612"/>
              <a:gd name="connsiteY3" fmla="*/ 6156325 h 61563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916612" h="6156325">
                <a:moveTo>
                  <a:pt x="0" y="0"/>
                </a:moveTo>
                <a:lnTo>
                  <a:pt x="5916612" y="0"/>
                </a:lnTo>
                <a:lnTo>
                  <a:pt x="5916612" y="6156325"/>
                </a:lnTo>
                <a:lnTo>
                  <a:pt x="0" y="6156325"/>
                </a:lnTo>
                <a:close/>
              </a:path>
            </a:pathLst>
          </a:custGeom>
          <a:solidFill>
            <a:schemeClr val="bg2">
              <a:lumMod val="20000"/>
              <a:lumOff val="80000"/>
            </a:schemeClr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16DB4C6-EB43-4DAF-85FB-3D5502FB73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395588"/>
            <a:ext cx="5437188" cy="382733"/>
          </a:xfrm>
        </p:spPr>
        <p:txBody>
          <a:bodyPr vert="horz"/>
          <a:lstStyle/>
          <a:p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Bd</a:t>
            </a:r>
            <a:r>
              <a:rPr lang="de-DE" dirty="0"/>
              <a:t>, 24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B238F142-8C02-4935-B629-B6251A26C16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9425" y="778321"/>
            <a:ext cx="5437188" cy="318933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de-DE" dirty="0" err="1"/>
              <a:t>Subline</a:t>
            </a:r>
            <a:r>
              <a:rPr lang="de-DE" dirty="0"/>
              <a:t>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20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4FD108-BE77-4119-8953-7B3B60E98A0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8199" y="1703388"/>
            <a:ext cx="5437188" cy="2640595"/>
          </a:xfrm>
        </p:spPr>
        <p:txBody>
          <a:bodyPr/>
          <a:lstStyle/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B02C48D-A93F-4C6A-B03C-EBD08B60F12B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2EE5FE33-A688-4E76-84C7-6AE86CD5F545}" type="datetime1">
              <a:rPr lang="de-DE" noProof="0" smtClean="0"/>
              <a:t>03.11.2025</a:t>
            </a:fld>
            <a:endParaRPr lang="de-DE" noProof="0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6BDEA1B9-B24B-4D57-B058-B115ADC06D92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de-DE" noProof="0"/>
              <a:t>© Fraunhofer ISI</a:t>
            </a:r>
            <a:endParaRPr lang="de-DE" noProof="0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FAD781B2-9C61-4882-AD01-A0C987D5BEDD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788085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 userDrawn="1">
          <p15:clr>
            <a:srgbClr val="FBAE40"/>
          </p15:clr>
        </p15:guide>
        <p15:guide id="2" pos="3727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3 Spalten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D3ED57BE-37A9-4D96-8E88-2396C118622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649301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Bildplatzhalter 13">
            <a:extLst>
              <a:ext uri="{FF2B5EF4-FFF2-40B4-BE49-F238E27FC236}">
                <a16:creationId xmlns:a16="http://schemas.microsoft.com/office/drawing/2014/main" id="{74C1AFAD-5D62-4BBC-A0F2-D7498EBFA13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 bwMode="gray">
          <a:xfrm>
            <a:off x="8220075" y="1"/>
            <a:ext cx="3971925" cy="6153149"/>
          </a:xfrm>
          <a:custGeom>
            <a:avLst/>
            <a:gdLst>
              <a:gd name="connsiteX0" fmla="*/ 0 w 3971925"/>
              <a:gd name="connsiteY0" fmla="*/ 0 h 6156325"/>
              <a:gd name="connsiteX1" fmla="*/ 3971925 w 3971925"/>
              <a:gd name="connsiteY1" fmla="*/ 0 h 6156325"/>
              <a:gd name="connsiteX2" fmla="*/ 3971925 w 3971925"/>
              <a:gd name="connsiteY2" fmla="*/ 6156325 h 6156325"/>
              <a:gd name="connsiteX3" fmla="*/ 0 w 3971925"/>
              <a:gd name="connsiteY3" fmla="*/ 6156325 h 61563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971925" h="6156325">
                <a:moveTo>
                  <a:pt x="0" y="0"/>
                </a:moveTo>
                <a:lnTo>
                  <a:pt x="3971925" y="0"/>
                </a:lnTo>
                <a:lnTo>
                  <a:pt x="3971925" y="6156325"/>
                </a:lnTo>
                <a:lnTo>
                  <a:pt x="0" y="6156325"/>
                </a:lnTo>
                <a:close/>
              </a:path>
            </a:pathLst>
          </a:custGeom>
          <a:solidFill>
            <a:schemeClr val="bg2">
              <a:lumMod val="20000"/>
              <a:lumOff val="80000"/>
            </a:schemeClr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3CF28B4-14C0-46CF-91E6-E56862CBC6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395588"/>
            <a:ext cx="7345363" cy="382733"/>
          </a:xfrm>
        </p:spPr>
        <p:txBody>
          <a:bodyPr vert="horz"/>
          <a:lstStyle/>
          <a:p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Bd</a:t>
            </a:r>
            <a:r>
              <a:rPr lang="de-DE" dirty="0"/>
              <a:t>, 24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BEE1F331-B496-4BC0-8505-F35F3C57A21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9425" y="778321"/>
            <a:ext cx="7345363" cy="319318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de-DE" dirty="0" err="1"/>
              <a:t>Subline</a:t>
            </a:r>
            <a:r>
              <a:rPr lang="de-DE" dirty="0"/>
              <a:t>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20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B813626-B371-440A-B685-32C75971336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8199" y="1703388"/>
            <a:ext cx="3492500" cy="2640595"/>
          </a:xfrm>
        </p:spPr>
        <p:txBody>
          <a:bodyPr/>
          <a:lstStyle/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E2D2D81B-2964-4DEB-9973-66C95A1B000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332288" y="1703388"/>
            <a:ext cx="3492500" cy="2619375"/>
          </a:xfrm>
        </p:spPr>
        <p:txBody>
          <a:bodyPr/>
          <a:lstStyle/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1AA1C435-BE97-4ADF-8F14-C82E03EE0355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3204942E-612F-4452-A98C-BE30675D1CEF}" type="datetime1">
              <a:rPr lang="de-DE" noProof="0" smtClean="0"/>
              <a:t>03.11.2025</a:t>
            </a:fld>
            <a:endParaRPr lang="de-DE" noProof="0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B2A69639-E1C4-4FDB-A492-46962B10A51A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de-DE" noProof="0"/>
              <a:t>© Fraunhofer ISI</a:t>
            </a:r>
            <a:endParaRPr lang="de-DE" noProof="0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595B9FAE-D08C-4661-B176-A0EAA1428374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45848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02" userDrawn="1">
          <p15:clr>
            <a:srgbClr val="FBAE40"/>
          </p15:clr>
        </p15:guide>
        <p15:guide id="2" pos="2729" userDrawn="1">
          <p15:clr>
            <a:srgbClr val="FBAE40"/>
          </p15:clr>
        </p15:guide>
        <p15:guide id="3" pos="4929" userDrawn="1">
          <p15:clr>
            <a:srgbClr val="FBAE40"/>
          </p15:clr>
        </p15:guide>
        <p15:guide id="4" pos="5178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1 Spalte | kleine 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73EB3F1D-68CC-4D42-88C6-FD851995773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614407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Bd</a:t>
            </a:r>
            <a:r>
              <a:rPr lang="de-DE" dirty="0"/>
              <a:t>, 24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8A281D1-4D07-42EA-89AA-EA4C03EDB00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8933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de-DE" dirty="0" err="1"/>
              <a:t>Subline</a:t>
            </a:r>
            <a:r>
              <a:rPr lang="de-DE" dirty="0"/>
              <a:t>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20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85573968-5EC4-45D8-B356-9D2C25D2EC6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8199" y="1703388"/>
            <a:ext cx="11233150" cy="2640595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4580799-6CA8-4E79-B6A8-7CEC7DE6B371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21AF35FA-38CA-44EF-8E47-8E0282D5182B}" type="datetime1">
              <a:rPr lang="de-DE" noProof="0" smtClean="0"/>
              <a:t>03.11.2025</a:t>
            </a:fld>
            <a:endParaRPr lang="de-DE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FFD07C3-3AC8-443B-9A9C-69C144293821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noProof="0"/>
              <a:t>© Fraunhofer ISI</a:t>
            </a:r>
            <a:endParaRPr lang="de-DE" noProof="0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6C6B76B4-FD05-4521-A9B8-94DCF2391F92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8381408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große Headline un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309058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6B002FD9-AF19-4ED6-84E1-C634A79B2BA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" y="3002996"/>
            <a:ext cx="5916612" cy="2981879"/>
          </a:xfrm>
          <a:gradFill flip="none" rotWithShape="1">
            <a:gsLst>
              <a:gs pos="33744">
                <a:srgbClr val="00779A">
                  <a:lumMod val="100000"/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5000">
                <a:srgbClr val="4DC7D2">
                  <a:lumMod val="90000"/>
                  <a:lumOff val="10000"/>
                  <a:alpha val="95000"/>
                </a:srgbClr>
              </a:gs>
              <a:gs pos="100000">
                <a:srgbClr val="04B1AA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486000" tIns="360000" rIns="360000" bIns="360000" anchor="b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1pPr>
            <a:lvl2pPr>
              <a:lnSpc>
                <a:spcPts val="3200"/>
              </a:lnSpc>
              <a:spcAft>
                <a:spcPts val="640"/>
              </a:spcAft>
              <a:defRPr sz="416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/>
              <a:t>Subline/Referent/Datum</a:t>
            </a:r>
            <a:endParaRPr lang="de-DE" dirty="0"/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32 </a:t>
            </a:r>
            <a:r>
              <a:rPr lang="de-DE" dirty="0" err="1"/>
              <a:t>pt</a:t>
            </a:r>
            <a:endParaRPr lang="de-DE" dirty="0"/>
          </a:p>
          <a:p>
            <a:pPr lvl="3"/>
            <a:r>
              <a:rPr lang="de-DE"/>
              <a:t>Referenten</a:t>
            </a:r>
            <a:endParaRPr lang="de-DE" dirty="0"/>
          </a:p>
        </p:txBody>
      </p:sp>
      <p:pic>
        <p:nvPicPr>
          <p:cNvPr id="6" name="isi_rgb_modul_send_de">
            <a:extLst>
              <a:ext uri="{FF2B5EF4-FFF2-40B4-BE49-F238E27FC236}">
                <a16:creationId xmlns:a16="http://schemas.microsoft.com/office/drawing/2014/main" id="{9E52BB4F-9154-4677-A766-12E9B073ACBF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9192575" y="476250"/>
            <a:ext cx="2520000" cy="1471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452369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1 Spalte | große 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73EB3F1D-68CC-4D42-88C6-FD851995773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384836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id="{73EB3F1D-68CC-4D42-88C6-FD85199577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Bd</a:t>
            </a:r>
            <a:r>
              <a:rPr lang="de-DE" dirty="0"/>
              <a:t>, 24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8A281D1-4D07-42EA-89AA-EA4C03EDB00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8933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de-DE" dirty="0" err="1"/>
              <a:t>Subline</a:t>
            </a:r>
            <a:r>
              <a:rPr lang="de-DE" dirty="0"/>
              <a:t>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20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85573968-5EC4-45D8-B356-9D2C25D2EC6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8199" y="1703388"/>
            <a:ext cx="11233150" cy="3020314"/>
          </a:xfrm>
        </p:spPr>
        <p:txBody>
          <a:bodyPr/>
          <a:lstStyle>
            <a:lvl1pPr>
              <a:spcAft>
                <a:spcPts val="2200"/>
              </a:spcAft>
              <a:defRPr sz="1800"/>
            </a:lvl1pPr>
            <a:lvl2pPr>
              <a:spcAft>
                <a:spcPts val="2200"/>
              </a:spcAft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AD40944-3B70-422E-9A83-B06079C22C6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AAC6F8B1-0014-4786-95CD-E23A6A3E9223}" type="datetime1">
              <a:rPr lang="de-DE" noProof="0" smtClean="0"/>
              <a:t>03.11.2025</a:t>
            </a:fld>
            <a:endParaRPr lang="de-DE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0E9EBAA3-4CD5-4D80-A5ED-62A7BAE0A987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noProof="0"/>
              <a:t>© Fraunhofer ISI</a:t>
            </a:r>
            <a:endParaRPr lang="de-DE" noProof="0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91632C5-2A5E-486C-A005-3993C40F70E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1601367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2 Spalten | kleine 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2C7AF347-EE19-4A49-ACB3-3F7316F7E1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12921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2C7AF347-EE19-4A49-ACB3-3F7316F7E1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728811"/>
            <a:ext cx="11233150" cy="382733"/>
          </a:xfrm>
        </p:spPr>
        <p:txBody>
          <a:bodyPr vert="horz"/>
          <a:lstStyle/>
          <a:p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Bd</a:t>
            </a:r>
            <a:r>
              <a:rPr lang="de-DE" dirty="0"/>
              <a:t>, 24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594FD133-02A3-4CCE-886B-5D61839C10E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417600"/>
            <a:ext cx="11233150" cy="318933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de-DE" dirty="0" err="1"/>
              <a:t>Subline</a:t>
            </a:r>
            <a:r>
              <a:rPr lang="de-DE" dirty="0"/>
              <a:t>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20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A89D932-8DCF-4ABE-8120-3CC2C601E53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8199" y="1703388"/>
            <a:ext cx="5437188" cy="2640595"/>
          </a:xfrm>
        </p:spPr>
        <p:txBody>
          <a:bodyPr/>
          <a:lstStyle/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77715D3E-BD63-49BD-96CA-087D6CFC2D2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275388" y="1703388"/>
            <a:ext cx="5437187" cy="2640595"/>
          </a:xfrm>
        </p:spPr>
        <p:txBody>
          <a:bodyPr/>
          <a:lstStyle/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5BDB3F52-3132-4FCE-9245-400432785EC3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61EE1E0F-D989-42C4-92E6-60E1F72C6632}" type="datetime1">
              <a:rPr lang="de-DE" noProof="0" smtClean="0"/>
              <a:t>03.11.2025</a:t>
            </a:fld>
            <a:endParaRPr lang="de-DE" noProof="0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CF7D269B-861C-4C29-9AA1-AC9F6193EF37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 noProof="0"/>
              <a:t>© Fraunhofer ISI</a:t>
            </a:r>
            <a:endParaRPr lang="de-DE" noProof="0" dirty="0"/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9AD6CBFC-7EA8-4A59-ADD7-332586C36413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07508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>
          <p15:clr>
            <a:srgbClr val="FBAE40"/>
          </p15:clr>
        </p15:guide>
        <p15:guide id="2" pos="3727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2 Spalten | große 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2C7AF347-EE19-4A49-ACB3-3F7316F7E1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12921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2C7AF347-EE19-4A49-ACB3-3F7316F7E1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728811"/>
            <a:ext cx="11233150" cy="382733"/>
          </a:xfrm>
        </p:spPr>
        <p:txBody>
          <a:bodyPr vert="horz"/>
          <a:lstStyle/>
          <a:p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Bd</a:t>
            </a:r>
            <a:r>
              <a:rPr lang="de-DE" dirty="0"/>
              <a:t>, 24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594FD133-02A3-4CCE-886B-5D61839C10E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417600"/>
            <a:ext cx="11233150" cy="318933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de-DE" dirty="0" err="1"/>
              <a:t>Subline</a:t>
            </a:r>
            <a:r>
              <a:rPr lang="de-DE" dirty="0"/>
              <a:t>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20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A89D932-8DCF-4ABE-8120-3CC2C601E53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8199" y="1703388"/>
            <a:ext cx="5437188" cy="3020314"/>
          </a:xfrm>
        </p:spPr>
        <p:txBody>
          <a:bodyPr/>
          <a:lstStyle>
            <a:lvl1pPr>
              <a:spcAft>
                <a:spcPts val="2200"/>
              </a:spcAft>
              <a:defRPr sz="1800"/>
            </a:lvl1pPr>
            <a:lvl2pPr>
              <a:spcAft>
                <a:spcPts val="2200"/>
              </a:spcAft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77715D3E-BD63-49BD-96CA-087D6CFC2D2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275388" y="1703388"/>
            <a:ext cx="5437187" cy="3020314"/>
          </a:xfrm>
        </p:spPr>
        <p:txBody>
          <a:bodyPr/>
          <a:lstStyle>
            <a:lvl1pPr>
              <a:spcAft>
                <a:spcPts val="2200"/>
              </a:spcAft>
              <a:defRPr sz="1800"/>
            </a:lvl1pPr>
            <a:lvl2pPr>
              <a:spcAft>
                <a:spcPts val="2200"/>
              </a:spcAft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D7C554D4-061E-46C5-92EC-EDBF599AFDD6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10AB7944-2EB8-466B-9E10-D3B91768B66B}" type="datetime1">
              <a:rPr lang="de-DE" noProof="0" smtClean="0"/>
              <a:t>03.11.2025</a:t>
            </a:fld>
            <a:endParaRPr lang="de-DE" noProof="0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C5750D2F-7AC5-4879-8C19-DDC98EDCDE20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 noProof="0"/>
              <a:t>© Fraunhofer ISI</a:t>
            </a:r>
            <a:endParaRPr lang="de-DE" noProof="0" dirty="0"/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D97D65A9-86C3-4B8F-8904-153D2F8CAFFC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009706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>
          <p15:clr>
            <a:srgbClr val="FBAE40"/>
          </p15:clr>
        </p15:guide>
        <p15:guide id="2" pos="3727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2 Spalten mit Infokas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3DC8D38B-C18B-45D1-977E-43D6AADFE7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489347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3DC8D38B-C18B-45D1-977E-43D6AADFE7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Bd</a:t>
            </a:r>
            <a:r>
              <a:rPr lang="de-DE" dirty="0"/>
              <a:t>, 24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B6B3DBCD-172B-459C-8C97-521B9602874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0" y="1700213"/>
            <a:ext cx="5916613" cy="4284662"/>
          </a:xfrm>
          <a:gradFill flip="none" rotWithShape="1">
            <a:gsLst>
              <a:gs pos="33744">
                <a:srgbClr val="00779A">
                  <a:lumMod val="100000"/>
                </a:srgbClr>
              </a:gs>
              <a:gs pos="0">
                <a:srgbClr val="014A6B"/>
              </a:gs>
              <a:gs pos="75000">
                <a:srgbClr val="4DC7D2">
                  <a:lumMod val="90000"/>
                  <a:lumOff val="10000"/>
                </a:srgbClr>
              </a:gs>
              <a:gs pos="100000">
                <a:srgbClr val="04B1AA"/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486000" tIns="288000" rIns="288000" bIns="288000" numCol="1" spcCol="360000">
            <a:noAutofit/>
          </a:bodyPr>
          <a:lstStyle>
            <a:lvl1pPr>
              <a:spcAft>
                <a:spcPts val="0"/>
              </a:spcAft>
              <a:defRPr>
                <a:solidFill>
                  <a:schemeClr val="bg1"/>
                </a:solidFill>
              </a:defRPr>
            </a:lvl1pPr>
            <a:lvl2pPr>
              <a:lnSpc>
                <a:spcPts val="1800"/>
              </a:lnSpc>
              <a:spcAft>
                <a:spcPts val="600"/>
              </a:spcAft>
              <a:defRPr sz="208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  <a:lvl6pPr>
              <a:buClr>
                <a:schemeClr val="bg1"/>
              </a:buClr>
              <a:defRPr>
                <a:solidFill>
                  <a:schemeClr val="bg1"/>
                </a:solidFill>
              </a:defRPr>
            </a:lvl6pPr>
            <a:lvl7pPr>
              <a:buClr>
                <a:schemeClr val="bg1"/>
              </a:buClr>
              <a:defRPr>
                <a:solidFill>
                  <a:schemeClr val="bg1"/>
                </a:solidFill>
              </a:defRPr>
            </a:lvl7pPr>
            <a:lvl8pPr>
              <a:buClr>
                <a:schemeClr val="bg1"/>
              </a:buClr>
              <a:buAutoNum type="arabicPeriod"/>
              <a:defRPr>
                <a:solidFill>
                  <a:schemeClr val="bg1"/>
                </a:solidFill>
              </a:defRPr>
            </a:lvl8pPr>
            <a:lvl9pPr>
              <a:buClr>
                <a:schemeClr val="bg1"/>
              </a:buCl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—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74F9B75C-F431-4271-A789-357B552F17E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75388" y="1700213"/>
            <a:ext cx="5437187" cy="2640595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70EAC44-6B23-48D7-9382-254ECE95C3B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9425" y="778321"/>
            <a:ext cx="11233150" cy="319318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de-DE" dirty="0" err="1"/>
              <a:t>Subline</a:t>
            </a:r>
            <a:r>
              <a:rPr lang="de-DE" dirty="0"/>
              <a:t>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20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F695CE19-2635-48CD-86C5-A6711E8F2407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3A788E46-7811-4140-88F1-4CEFBE174CF8}" type="datetime1">
              <a:rPr lang="de-DE" noProof="0" smtClean="0"/>
              <a:t>03.11.2025</a:t>
            </a:fld>
            <a:endParaRPr lang="de-DE" noProof="0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A8987410-0067-43D6-9FB8-E4A3CFE6622D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de-DE" noProof="0"/>
              <a:t>© Fraunhofer ISI</a:t>
            </a:r>
            <a:endParaRPr lang="de-DE" noProof="0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7B4A690-2DD5-436A-A09D-218E639343B0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02865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 userDrawn="1">
          <p15:clr>
            <a:srgbClr val="FBAE40"/>
          </p15:clr>
        </p15:guide>
        <p15:guide id="2" pos="3727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 he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5BAB6549-3007-4962-B8D4-52ECE48231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518240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Rechteck 21">
            <a:extLst>
              <a:ext uri="{FF2B5EF4-FFF2-40B4-BE49-F238E27FC236}">
                <a16:creationId xmlns:a16="http://schemas.microsoft.com/office/drawing/2014/main" id="{30FDEE22-4D74-4924-86C5-CF41B7A9F583}"/>
              </a:ext>
            </a:extLst>
          </p:cNvPr>
          <p:cNvSpPr/>
          <p:nvPr userDrawn="1"/>
        </p:nvSpPr>
        <p:spPr bwMode="gray">
          <a:xfrm>
            <a:off x="479425" y="1206230"/>
            <a:ext cx="473886" cy="87549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CABC3893-E6D0-4680-9CDB-B7D76C158179}"/>
              </a:ext>
            </a:extLst>
          </p:cNvPr>
          <p:cNvCxnSpPr/>
          <p:nvPr userDrawn="1"/>
        </p:nvCxnSpPr>
        <p:spPr>
          <a:xfrm>
            <a:off x="0" y="6143625"/>
            <a:ext cx="12192000" cy="0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platzhalter 31">
            <a:extLst>
              <a:ext uri="{FF2B5EF4-FFF2-40B4-BE49-F238E27FC236}">
                <a16:creationId xmlns:a16="http://schemas.microsoft.com/office/drawing/2014/main" id="{19260903-BB55-4E18-8A26-9490D566EEA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1826785"/>
            <a:ext cx="11233150" cy="1205330"/>
          </a:xfrm>
        </p:spPr>
        <p:txBody>
          <a:bodyPr/>
          <a:lstStyle>
            <a:lvl1pPr>
              <a:lnSpc>
                <a:spcPct val="110000"/>
              </a:lnSpc>
              <a:spcAft>
                <a:spcPts val="0"/>
              </a:spcAft>
              <a:defRPr sz="4400">
                <a:solidFill>
                  <a:schemeClr val="accent2"/>
                </a:solidFill>
                <a:latin typeface="Frutiger LT Com 65 Bold" panose="020B0803030504020204" pitchFamily="34" charset="0"/>
              </a:defRPr>
            </a:lvl1pPr>
            <a:lvl2pPr algn="r">
              <a:lnSpc>
                <a:spcPct val="110000"/>
              </a:lnSpc>
              <a:spcAft>
                <a:spcPts val="0"/>
              </a:spcAft>
              <a:defRPr sz="1400">
                <a:solidFill>
                  <a:schemeClr val="accent2"/>
                </a:solidFill>
                <a:latin typeface="+mj-lt"/>
              </a:defRPr>
            </a:lvl2pPr>
            <a:lvl3pPr algn="r">
              <a:lnSpc>
                <a:spcPct val="110000"/>
              </a:lnSpc>
              <a:spcAft>
                <a:spcPts val="0"/>
              </a:spcAft>
              <a:defRPr b="0">
                <a:solidFill>
                  <a:schemeClr val="accent2"/>
                </a:solidFill>
                <a:latin typeface="+mn-lt"/>
              </a:defRPr>
            </a:lvl3pPr>
            <a:lvl4pPr marL="0" indent="0" algn="r">
              <a:lnSpc>
                <a:spcPct val="110000"/>
              </a:lnSpc>
              <a:buNone/>
              <a:defRPr>
                <a:solidFill>
                  <a:schemeClr val="accent2"/>
                </a:solidFill>
              </a:defRPr>
            </a:lvl4pPr>
          </a:lstStyle>
          <a:p>
            <a:pPr lvl="0"/>
            <a:r>
              <a:rPr lang="de-DE"/>
              <a:t>Zitat</a:t>
            </a:r>
            <a:endParaRPr lang="de-DE" dirty="0"/>
          </a:p>
          <a:p>
            <a:pPr lvl="1"/>
            <a:r>
              <a:rPr lang="de-DE"/>
              <a:t>Name des Autors</a:t>
            </a:r>
            <a:endParaRPr lang="de-DE" dirty="0"/>
          </a:p>
          <a:p>
            <a:pPr lvl="2"/>
            <a:r>
              <a:rPr lang="de-DE"/>
              <a:t>Position</a:t>
            </a:r>
            <a:endParaRPr lang="de-DE" dirty="0"/>
          </a:p>
        </p:txBody>
      </p:sp>
      <p:grpSp>
        <p:nvGrpSpPr>
          <p:cNvPr id="20" name="Gruppieren 19">
            <a:extLst>
              <a:ext uri="{FF2B5EF4-FFF2-40B4-BE49-F238E27FC236}">
                <a16:creationId xmlns:a16="http://schemas.microsoft.com/office/drawing/2014/main" id="{B30F5BB5-7863-4504-94A4-F39A72E20BF2}"/>
              </a:ext>
            </a:extLst>
          </p:cNvPr>
          <p:cNvGrpSpPr/>
          <p:nvPr userDrawn="1"/>
        </p:nvGrpSpPr>
        <p:grpSpPr>
          <a:xfrm>
            <a:off x="479425" y="476249"/>
            <a:ext cx="1266824" cy="1028701"/>
            <a:chOff x="621507" y="476249"/>
            <a:chExt cx="1266824" cy="1028701"/>
          </a:xfrm>
        </p:grpSpPr>
        <p:sp>
          <p:nvSpPr>
            <p:cNvPr id="3" name="Pfeil: Chevron 2">
              <a:extLst>
                <a:ext uri="{FF2B5EF4-FFF2-40B4-BE49-F238E27FC236}">
                  <a16:creationId xmlns:a16="http://schemas.microsoft.com/office/drawing/2014/main" id="{80955E3B-8357-4836-8592-3039D01F1391}"/>
                </a:ext>
              </a:extLst>
            </p:cNvPr>
            <p:cNvSpPr/>
            <p:nvPr userDrawn="1"/>
          </p:nvSpPr>
          <p:spPr>
            <a:xfrm>
              <a:off x="621507" y="476249"/>
              <a:ext cx="671512" cy="1028701"/>
            </a:xfrm>
            <a:prstGeom prst="chevron">
              <a:avLst>
                <a:gd name="adj" fmla="val 42908"/>
              </a:avLst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9" name="Pfeil: Chevron 18">
              <a:extLst>
                <a:ext uri="{FF2B5EF4-FFF2-40B4-BE49-F238E27FC236}">
                  <a16:creationId xmlns:a16="http://schemas.microsoft.com/office/drawing/2014/main" id="{8245CA0A-C731-43B3-A4D1-99935FA2DE2F}"/>
                </a:ext>
              </a:extLst>
            </p:cNvPr>
            <p:cNvSpPr/>
            <p:nvPr userDrawn="1"/>
          </p:nvSpPr>
          <p:spPr>
            <a:xfrm>
              <a:off x="1216819" y="476249"/>
              <a:ext cx="671512" cy="1028701"/>
            </a:xfrm>
            <a:prstGeom prst="chevron">
              <a:avLst>
                <a:gd name="adj" fmla="val 42908"/>
              </a:avLst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en-US" sz="1400" dirty="0">
                <a:solidFill>
                  <a:schemeClr val="tx1"/>
                </a:solidFill>
              </a:endParaRPr>
            </a:p>
          </p:txBody>
        </p:sp>
      </p:grp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3719F7FF-9FD8-4FC6-AE77-A349B0ACD5C2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36F4221C-C993-4597-8EE6-9265DA695E8C}" type="datetime1">
              <a:rPr lang="de-DE" noProof="0" smtClean="0"/>
              <a:t>03.11.2025</a:t>
            </a:fld>
            <a:endParaRPr lang="de-DE" noProof="0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03B70818-BA9A-4A9E-BB42-894CD16E6FD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/>
              <a:t>© Fraunhofer ISI</a:t>
            </a:r>
            <a:endParaRPr lang="de-DE" noProof="0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8C8D05E3-CD28-43C1-A7F2-3AD6FBD49D7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9372218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 dunk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5BAB6549-3007-4962-B8D4-52ECE48231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388262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5BAB6549-3007-4962-B8D4-52ECE48231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CABC3893-E6D0-4680-9CDB-B7D76C158179}"/>
              </a:ext>
            </a:extLst>
          </p:cNvPr>
          <p:cNvCxnSpPr/>
          <p:nvPr userDrawn="1"/>
        </p:nvCxnSpPr>
        <p:spPr>
          <a:xfrm>
            <a:off x="0" y="6143625"/>
            <a:ext cx="12192000" cy="0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Grafik 12">
            <a:extLst>
              <a:ext uri="{FF2B5EF4-FFF2-40B4-BE49-F238E27FC236}">
                <a16:creationId xmlns:a16="http://schemas.microsoft.com/office/drawing/2014/main" id="{F8D4B216-A5F7-4214-889D-75DD098CB82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0209"/>
          <a:stretch/>
        </p:blipFill>
        <p:spPr>
          <a:xfrm>
            <a:off x="1" y="-4763"/>
            <a:ext cx="12192000" cy="6157913"/>
          </a:xfrm>
          <a:prstGeom prst="rect">
            <a:avLst/>
          </a:prstGeom>
        </p:spPr>
      </p:pic>
      <p:sp>
        <p:nvSpPr>
          <p:cNvPr id="32" name="Textplatzhalter 31">
            <a:extLst>
              <a:ext uri="{FF2B5EF4-FFF2-40B4-BE49-F238E27FC236}">
                <a16:creationId xmlns:a16="http://schemas.microsoft.com/office/drawing/2014/main" id="{19260903-BB55-4E18-8A26-9490D566EEA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1826785"/>
            <a:ext cx="11233150" cy="1205330"/>
          </a:xfrm>
        </p:spPr>
        <p:txBody>
          <a:bodyPr/>
          <a:lstStyle>
            <a:lvl1pPr>
              <a:lnSpc>
                <a:spcPct val="110000"/>
              </a:lnSpc>
              <a:spcAft>
                <a:spcPts val="0"/>
              </a:spcAft>
              <a:defRPr sz="4400">
                <a:solidFill>
                  <a:schemeClr val="bg1"/>
                </a:solidFill>
                <a:latin typeface="Frutiger LT Com 65 Bold" panose="020B0803030504020204" pitchFamily="34" charset="0"/>
              </a:defRPr>
            </a:lvl1pPr>
            <a:lvl2pPr algn="r">
              <a:lnSpc>
                <a:spcPct val="110000"/>
              </a:lnSpc>
              <a:spcAft>
                <a:spcPts val="0"/>
              </a:spcAft>
              <a:defRPr sz="1400">
                <a:solidFill>
                  <a:schemeClr val="bg1"/>
                </a:solidFill>
                <a:latin typeface="+mj-lt"/>
              </a:defRPr>
            </a:lvl2pPr>
            <a:lvl3pPr algn="r">
              <a:lnSpc>
                <a:spcPct val="110000"/>
              </a:lnSpc>
              <a:spcAft>
                <a:spcPts val="0"/>
              </a:spcAft>
              <a:defRPr>
                <a:solidFill>
                  <a:schemeClr val="bg1"/>
                </a:solidFill>
                <a:latin typeface="+mn-lt"/>
              </a:defRPr>
            </a:lvl3pPr>
            <a:lvl4pPr marL="0" indent="0" algn="r">
              <a:lnSpc>
                <a:spcPct val="110000"/>
              </a:lnSpc>
              <a:buNone/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de-DE"/>
              <a:t>Zitat</a:t>
            </a:r>
            <a:endParaRPr lang="de-DE" dirty="0"/>
          </a:p>
          <a:p>
            <a:pPr lvl="1"/>
            <a:r>
              <a:rPr lang="de-DE"/>
              <a:t>Name des Autors</a:t>
            </a:r>
            <a:endParaRPr lang="de-DE" dirty="0"/>
          </a:p>
          <a:p>
            <a:pPr lvl="2"/>
            <a:r>
              <a:rPr lang="de-DE"/>
              <a:t>Position</a:t>
            </a:r>
            <a:endParaRPr lang="de-DE" dirty="0"/>
          </a:p>
        </p:txBody>
      </p:sp>
      <p:grpSp>
        <p:nvGrpSpPr>
          <p:cNvPr id="20" name="Gruppieren 19">
            <a:extLst>
              <a:ext uri="{FF2B5EF4-FFF2-40B4-BE49-F238E27FC236}">
                <a16:creationId xmlns:a16="http://schemas.microsoft.com/office/drawing/2014/main" id="{942B2AF3-B72B-4E51-98E8-276E33E081FB}"/>
              </a:ext>
            </a:extLst>
          </p:cNvPr>
          <p:cNvGrpSpPr/>
          <p:nvPr userDrawn="1"/>
        </p:nvGrpSpPr>
        <p:grpSpPr>
          <a:xfrm>
            <a:off x="479425" y="476249"/>
            <a:ext cx="1266824" cy="1028701"/>
            <a:chOff x="621507" y="476249"/>
            <a:chExt cx="1266824" cy="1028701"/>
          </a:xfrm>
          <a:solidFill>
            <a:schemeClr val="bg1"/>
          </a:solidFill>
        </p:grpSpPr>
        <p:sp>
          <p:nvSpPr>
            <p:cNvPr id="21" name="Pfeil: Chevron 20">
              <a:extLst>
                <a:ext uri="{FF2B5EF4-FFF2-40B4-BE49-F238E27FC236}">
                  <a16:creationId xmlns:a16="http://schemas.microsoft.com/office/drawing/2014/main" id="{A9E48764-AC81-446C-B62C-88A8F03B3803}"/>
                </a:ext>
              </a:extLst>
            </p:cNvPr>
            <p:cNvSpPr/>
            <p:nvPr userDrawn="1"/>
          </p:nvSpPr>
          <p:spPr>
            <a:xfrm>
              <a:off x="621507" y="476249"/>
              <a:ext cx="671512" cy="1028701"/>
            </a:xfrm>
            <a:prstGeom prst="chevron">
              <a:avLst>
                <a:gd name="adj" fmla="val 42908"/>
              </a:avLst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2" name="Pfeil: Chevron 21">
              <a:extLst>
                <a:ext uri="{FF2B5EF4-FFF2-40B4-BE49-F238E27FC236}">
                  <a16:creationId xmlns:a16="http://schemas.microsoft.com/office/drawing/2014/main" id="{14C3BCAC-351B-4AFA-8D18-F61D609E40E4}"/>
                </a:ext>
              </a:extLst>
            </p:cNvPr>
            <p:cNvSpPr/>
            <p:nvPr userDrawn="1"/>
          </p:nvSpPr>
          <p:spPr>
            <a:xfrm>
              <a:off x="1216819" y="476249"/>
              <a:ext cx="671512" cy="1028701"/>
            </a:xfrm>
            <a:prstGeom prst="chevron">
              <a:avLst>
                <a:gd name="adj" fmla="val 42908"/>
              </a:avLst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en-US" sz="1400" dirty="0">
                <a:solidFill>
                  <a:schemeClr val="tx1"/>
                </a:solidFill>
              </a:endParaRPr>
            </a:p>
          </p:txBody>
        </p:sp>
      </p:grp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D647DF70-C076-4A26-9F94-6FA1181DF1F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920EB7DE-D69A-47F7-8C66-AE1D971DBC2D}" type="datetime1">
              <a:rPr lang="de-DE" noProof="0" smtClean="0"/>
              <a:t>03.11.2025</a:t>
            </a:fld>
            <a:endParaRPr lang="de-DE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1784F8B-F977-42FC-A651-A02A01C602E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/>
              <a:t>© Fraunhofer ISI</a:t>
            </a:r>
            <a:endParaRPr lang="de-DE" noProof="0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160083F-34CE-4BF0-AB01-7CCA0176F2D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8616245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ntaktfolie – Bild vollfläch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86670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6B002FD9-AF19-4ED6-84E1-C634A79B2BA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" y="2952020"/>
            <a:ext cx="5916612" cy="3388337"/>
          </a:xfrm>
          <a:gradFill flip="none" rotWithShape="1">
            <a:gsLst>
              <a:gs pos="33744">
                <a:srgbClr val="00779A">
                  <a:lumMod val="100000"/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5000">
                <a:srgbClr val="4DC7D2">
                  <a:lumMod val="90000"/>
                  <a:lumOff val="10000"/>
                  <a:alpha val="95000"/>
                </a:srgbClr>
              </a:gs>
              <a:gs pos="100000">
                <a:srgbClr val="04B1AA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486000" tIns="360000" rIns="360000" bIns="360000" anchor="t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00"/>
              </a:lnSpc>
              <a:spcAft>
                <a:spcPts val="1600"/>
              </a:spcAft>
              <a:defRPr sz="416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ts val="2080"/>
              </a:lnSpc>
              <a:spcBef>
                <a:spcPts val="208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Kontakt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Titel Vorname Name</a:t>
            </a:r>
          </a:p>
          <a:p>
            <a:pPr lvl="2"/>
            <a:r>
              <a:rPr lang="de-DE" dirty="0"/>
              <a:t>Geschäftsbereich XXX</a:t>
            </a:r>
          </a:p>
          <a:p>
            <a:pPr lvl="2"/>
            <a:r>
              <a:rPr lang="de-DE" dirty="0"/>
              <a:t>Tel. +49 12 3456-XXXX</a:t>
            </a:r>
          </a:p>
          <a:p>
            <a:pPr lvl="2"/>
            <a:r>
              <a:rPr lang="de-DE" dirty="0"/>
              <a:t>Fax +49 12 3456-XXXX</a:t>
            </a:r>
          </a:p>
          <a:p>
            <a:pPr lvl="2"/>
            <a:r>
              <a:rPr lang="de-DE" dirty="0"/>
              <a:t>vorname.name@isi.fraunhofer.de</a:t>
            </a:r>
          </a:p>
        </p:txBody>
      </p:sp>
      <p:pic>
        <p:nvPicPr>
          <p:cNvPr id="6" name="isi_rgb_modul_send_de">
            <a:extLst>
              <a:ext uri="{FF2B5EF4-FFF2-40B4-BE49-F238E27FC236}">
                <a16:creationId xmlns:a16="http://schemas.microsoft.com/office/drawing/2014/main" id="{9E52BB4F-9154-4677-A766-12E9B073ACBF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9192575" y="476250"/>
            <a:ext cx="2520000" cy="1471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090233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ntaktfolie – Bild hal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843079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6B002FD9-AF19-4ED6-84E1-C634A79B2BA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4572000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" y="2952020"/>
            <a:ext cx="5916612" cy="3388337"/>
          </a:xfrm>
          <a:gradFill flip="none" rotWithShape="1">
            <a:gsLst>
              <a:gs pos="33744">
                <a:srgbClr val="00779A">
                  <a:lumMod val="100000"/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5000">
                <a:srgbClr val="4DC7D2">
                  <a:lumMod val="90000"/>
                  <a:lumOff val="10000"/>
                  <a:alpha val="95000"/>
                </a:srgbClr>
              </a:gs>
              <a:gs pos="100000">
                <a:srgbClr val="04B1AA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486000" tIns="360000" rIns="360000" bIns="360000" anchor="t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00"/>
              </a:lnSpc>
              <a:spcAft>
                <a:spcPts val="1600"/>
              </a:spcAft>
              <a:defRPr sz="416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ts val="2080"/>
              </a:lnSpc>
              <a:spcBef>
                <a:spcPts val="208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Kontakt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Titel Vorname Name</a:t>
            </a:r>
          </a:p>
          <a:p>
            <a:pPr lvl="2"/>
            <a:r>
              <a:rPr lang="de-DE" dirty="0"/>
              <a:t>Geschäftsbereich XXX</a:t>
            </a:r>
          </a:p>
          <a:p>
            <a:pPr lvl="2"/>
            <a:r>
              <a:rPr lang="de-DE" dirty="0"/>
              <a:t>Tel. +49 12 3456-XXXX</a:t>
            </a:r>
          </a:p>
          <a:p>
            <a:pPr lvl="2"/>
            <a:r>
              <a:rPr lang="de-DE" dirty="0"/>
              <a:t>Fax +49 12 3456-XXXX</a:t>
            </a:r>
          </a:p>
          <a:p>
            <a:pPr lvl="2"/>
            <a:r>
              <a:rPr lang="de-DE" dirty="0"/>
              <a:t>vorname.name@isi.fraunhofer.de</a:t>
            </a:r>
          </a:p>
        </p:txBody>
      </p:sp>
      <p:pic>
        <p:nvPicPr>
          <p:cNvPr id="6" name="isi_rgb_modul_send_de">
            <a:extLst>
              <a:ext uri="{FF2B5EF4-FFF2-40B4-BE49-F238E27FC236}">
                <a16:creationId xmlns:a16="http://schemas.microsoft.com/office/drawing/2014/main" id="{9E52BB4F-9154-4677-A766-12E9B073ACBF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9192575" y="476250"/>
            <a:ext cx="2520000" cy="1471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530131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ntaktfolie –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246021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Grafik 5">
            <a:extLst>
              <a:ext uri="{FF2B5EF4-FFF2-40B4-BE49-F238E27FC236}">
                <a16:creationId xmlns:a16="http://schemas.microsoft.com/office/drawing/2014/main" id="{9233E68D-B08D-4763-8344-83249244269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12192000" cy="6857999"/>
          </a:xfrm>
          <a:prstGeom prst="rect">
            <a:avLst/>
          </a:prstGeom>
        </p:spPr>
      </p:pic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9425" y="1700213"/>
            <a:ext cx="5916612" cy="3734869"/>
          </a:xfrm>
          <a:noFill/>
        </p:spPr>
        <p:txBody>
          <a:bodyPr lIns="0" tIns="0" rIns="0" bIns="0" anchor="t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00"/>
              </a:lnSpc>
              <a:spcAft>
                <a:spcPts val="1600"/>
              </a:spcAft>
              <a:defRPr sz="416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Kontakt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Titel Vorname Name</a:t>
            </a:r>
          </a:p>
          <a:p>
            <a:pPr lvl="2"/>
            <a:r>
              <a:rPr lang="de-DE" dirty="0"/>
              <a:t>Geschäftsbereich XXX</a:t>
            </a:r>
          </a:p>
          <a:p>
            <a:pPr lvl="2"/>
            <a:r>
              <a:rPr lang="de-DE" dirty="0"/>
              <a:t>Tel. +49 12 3456-XXXX</a:t>
            </a:r>
          </a:p>
          <a:p>
            <a:pPr lvl="2"/>
            <a:r>
              <a:rPr lang="de-DE" dirty="0"/>
              <a:t>Fax +49 12 3456-XXXX</a:t>
            </a:r>
          </a:p>
          <a:p>
            <a:pPr lvl="2"/>
            <a:r>
              <a:rPr lang="de-DE" dirty="0"/>
              <a:t>vorname.name@isi.fraunhofer.de</a:t>
            </a:r>
          </a:p>
          <a:p>
            <a:pPr lvl="3"/>
            <a:endParaRPr lang="pt-BR" dirty="0"/>
          </a:p>
          <a:p>
            <a:pPr lvl="3"/>
            <a:r>
              <a:rPr lang="de-DE" dirty="0"/>
              <a:t>Fraunhofer-Institut für System- und Innovationsforschung ISI</a:t>
            </a:r>
          </a:p>
          <a:p>
            <a:pPr lvl="3"/>
            <a:r>
              <a:rPr lang="pt-BR" dirty="0"/>
              <a:t>Breslauer Straße 48</a:t>
            </a:r>
          </a:p>
          <a:p>
            <a:pPr lvl="3"/>
            <a:r>
              <a:rPr lang="pt-BR" dirty="0"/>
              <a:t>76139 Karlsruhe</a:t>
            </a:r>
          </a:p>
          <a:p>
            <a:pPr lvl="3"/>
            <a:r>
              <a:rPr lang="pt-BR" dirty="0"/>
              <a:t>www.isi.fraunhofer.de</a:t>
            </a:r>
          </a:p>
        </p:txBody>
      </p:sp>
      <p:pic>
        <p:nvPicPr>
          <p:cNvPr id="7" name="isi_rgb_modul_send_de">
            <a:extLst>
              <a:ext uri="{FF2B5EF4-FFF2-40B4-BE49-F238E27FC236}">
                <a16:creationId xmlns:a16="http://schemas.microsoft.com/office/drawing/2014/main" id="{9E52BB4F-9154-4677-A766-12E9B073ACBF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9192575" y="476250"/>
            <a:ext cx="2520000" cy="1471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534311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284716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Grafik 7">
            <a:extLst>
              <a:ext uri="{FF2B5EF4-FFF2-40B4-BE49-F238E27FC236}">
                <a16:creationId xmlns:a16="http://schemas.microsoft.com/office/drawing/2014/main" id="{9F17E90D-0C11-4C1A-9AB0-99DFB3D05F3A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9425" y="2255355"/>
            <a:ext cx="11233149" cy="2998000"/>
          </a:xfrm>
          <a:noFill/>
        </p:spPr>
        <p:txBody>
          <a:bodyPr wrap="square" lIns="0" tIns="0" rIns="0" bIns="0" anchor="t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66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7200"/>
              </a:lnSpc>
              <a:spcAft>
                <a:spcPts val="1600"/>
              </a:spcAft>
              <a:defRPr sz="858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ts val="2080"/>
              </a:lnSpc>
              <a:spcAft>
                <a:spcPts val="0"/>
              </a:spcAft>
              <a:defRPr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ts val="2080"/>
              </a:lnSpc>
              <a:spcBef>
                <a:spcPts val="208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/>
              <a:t>Vielen Dank für Ihre Aufmerksamkeit</a:t>
            </a:r>
            <a:endParaRPr lang="de-DE" dirty="0"/>
          </a:p>
          <a:p>
            <a:pPr lvl="1"/>
            <a:r>
              <a:rPr lang="de-DE" dirty="0"/>
              <a:t>—</a:t>
            </a:r>
          </a:p>
        </p:txBody>
      </p:sp>
      <p:pic>
        <p:nvPicPr>
          <p:cNvPr id="7" name="isi_rgb_modul_send_de">
            <a:extLst>
              <a:ext uri="{FF2B5EF4-FFF2-40B4-BE49-F238E27FC236}">
                <a16:creationId xmlns:a16="http://schemas.microsoft.com/office/drawing/2014/main" id="{9E52BB4F-9154-4677-A766-12E9B073ACBF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9192575" y="476250"/>
            <a:ext cx="2520000" cy="1471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974180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kleine Headline ob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43910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6B002FD9-AF19-4ED6-84E1-C634A79B2BA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75388" y="3340524"/>
            <a:ext cx="5916612" cy="2644351"/>
          </a:xfrm>
          <a:gradFill flip="none" rotWithShape="1">
            <a:gsLst>
              <a:gs pos="33744">
                <a:srgbClr val="00779A">
                  <a:lumMod val="100000"/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5000">
                <a:srgbClr val="4DC7D2">
                  <a:lumMod val="90000"/>
                  <a:lumOff val="10000"/>
                  <a:alpha val="95000"/>
                </a:srgbClr>
              </a:gs>
              <a:gs pos="100000">
                <a:srgbClr val="04B1AA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360000" tIns="360000" rIns="360000" bIns="360000" anchor="b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24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2640"/>
              </a:lnSpc>
              <a:spcAft>
                <a:spcPts val="1200"/>
              </a:spcAft>
              <a:defRPr sz="312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spcAft>
                <a:spcPts val="0"/>
              </a:spcAft>
              <a:defRPr sz="140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110000"/>
              </a:lnSpc>
              <a:spcBef>
                <a:spcPts val="184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24 </a:t>
            </a:r>
            <a:r>
              <a:rPr lang="de-DE" dirty="0" err="1"/>
              <a:t>pt</a:t>
            </a:r>
            <a:br>
              <a:rPr lang="de-DE" dirty="0"/>
            </a:br>
            <a:r>
              <a:rPr lang="de-DE" dirty="0"/>
              <a:t>max. 3 Zeilen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/>
              <a:t>Subline/Referent/Datum</a:t>
            </a:r>
            <a:endParaRPr lang="de-DE" dirty="0"/>
          </a:p>
          <a:p>
            <a:pPr lvl="3"/>
            <a:r>
              <a:rPr lang="de-DE"/>
              <a:t>Referenten</a:t>
            </a:r>
            <a:endParaRPr lang="de-DE" dirty="0"/>
          </a:p>
        </p:txBody>
      </p:sp>
      <p:pic>
        <p:nvPicPr>
          <p:cNvPr id="6" name="isi_rgb_modul_send_de">
            <a:extLst>
              <a:ext uri="{FF2B5EF4-FFF2-40B4-BE49-F238E27FC236}">
                <a16:creationId xmlns:a16="http://schemas.microsoft.com/office/drawing/2014/main" id="{9E52BB4F-9154-4677-A766-12E9B073ACBF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485774" y="485775"/>
            <a:ext cx="2520000" cy="1471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199813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kleine Headline un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515374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6B002FD9-AF19-4ED6-84E1-C634A79B2BA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" y="3038390"/>
            <a:ext cx="5916612" cy="2946485"/>
          </a:xfrm>
          <a:gradFill flip="none" rotWithShape="1">
            <a:gsLst>
              <a:gs pos="33744">
                <a:srgbClr val="00779A">
                  <a:lumMod val="100000"/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5000">
                <a:srgbClr val="4DC7D2">
                  <a:lumMod val="90000"/>
                  <a:lumOff val="10000"/>
                  <a:alpha val="95000"/>
                </a:srgbClr>
              </a:gs>
              <a:gs pos="100000">
                <a:srgbClr val="04B1AA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486000" tIns="360000" rIns="360000" bIns="360000" anchor="b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400" b="0">
                <a:solidFill>
                  <a:schemeClr val="bg1"/>
                </a:solidFill>
                <a:latin typeface="+mj-lt"/>
              </a:defRPr>
            </a:lvl1pPr>
            <a:lvl2pPr>
              <a:lnSpc>
                <a:spcPts val="2800"/>
              </a:lnSpc>
              <a:spcAft>
                <a:spcPts val="480"/>
              </a:spcAft>
              <a:defRPr sz="312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2400" b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lang="de-DE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/>
              <a:t>Subline/Referent/Datum</a:t>
            </a:r>
            <a:endParaRPr lang="de-DE" dirty="0"/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24 </a:t>
            </a:r>
            <a:r>
              <a:rPr lang="de-DE" dirty="0" err="1"/>
              <a:t>pt</a:t>
            </a:r>
            <a:r>
              <a:rPr lang="de-DE" dirty="0"/>
              <a:t>,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rem</a:t>
            </a:r>
            <a:r>
              <a:rPr lang="de-DE" dirty="0"/>
              <a:t> max. 3 Zeilen</a:t>
            </a:r>
          </a:p>
          <a:p>
            <a:pPr marL="0" lvl="3" indent="0" algn="l" defTabSz="914400" rtl="0" eaLnBrk="1" latinLnBrk="0" hangingPunct="1">
              <a:lnSpc>
                <a:spcPts val="1840"/>
              </a:lnSpc>
              <a:spcBef>
                <a:spcPts val="184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None/>
            </a:pPr>
            <a:r>
              <a:rPr lang="de-DE"/>
              <a:t>Referenten</a:t>
            </a:r>
            <a:endParaRPr lang="de-DE" dirty="0"/>
          </a:p>
        </p:txBody>
      </p:sp>
      <p:pic>
        <p:nvPicPr>
          <p:cNvPr id="6" name="isi_rgb_modul_send_de">
            <a:extLst>
              <a:ext uri="{FF2B5EF4-FFF2-40B4-BE49-F238E27FC236}">
                <a16:creationId xmlns:a16="http://schemas.microsoft.com/office/drawing/2014/main" id="{9E52BB4F-9154-4677-A766-12E9B073ACBF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9192575" y="476250"/>
            <a:ext cx="2520000" cy="1471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17918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Co-Bran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954403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6B002FD9-AF19-4ED6-84E1-C634A79B2BA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4572000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3003515"/>
            <a:ext cx="7824783" cy="2502389"/>
          </a:xfrm>
          <a:gradFill flip="none" rotWithShape="1">
            <a:gsLst>
              <a:gs pos="33744">
                <a:srgbClr val="00779A">
                  <a:lumMod val="100000"/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5000">
                <a:srgbClr val="4DC7D2">
                  <a:lumMod val="90000"/>
                  <a:lumOff val="10000"/>
                  <a:alpha val="95000"/>
                </a:srgbClr>
              </a:gs>
              <a:gs pos="100000">
                <a:srgbClr val="04B1AA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wrap="square" lIns="486000" tIns="360000" rIns="360000" bIns="360000" anchor="b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1pPr>
            <a:lvl2pPr>
              <a:lnSpc>
                <a:spcPts val="3200"/>
              </a:lnSpc>
              <a:spcAft>
                <a:spcPts val="640"/>
              </a:spcAft>
              <a:defRPr sz="416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/>
              <a:t>Subline/Referent/Datum</a:t>
            </a:r>
            <a:endParaRPr lang="de-DE" dirty="0"/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32 </a:t>
            </a:r>
            <a:r>
              <a:rPr lang="de-DE" dirty="0" err="1"/>
              <a:t>pt</a:t>
            </a:r>
            <a:endParaRPr lang="de-DE" dirty="0"/>
          </a:p>
          <a:p>
            <a:pPr lvl="3"/>
            <a:r>
              <a:rPr lang="de-DE"/>
              <a:t>Referenten</a:t>
            </a:r>
            <a:endParaRPr lang="de-DE" dirty="0"/>
          </a:p>
        </p:txBody>
      </p:sp>
      <p:pic>
        <p:nvPicPr>
          <p:cNvPr id="6" name="isi_rgb_modul_send_de">
            <a:extLst>
              <a:ext uri="{FF2B5EF4-FFF2-40B4-BE49-F238E27FC236}">
                <a16:creationId xmlns:a16="http://schemas.microsoft.com/office/drawing/2014/main" id="{9E52BB4F-9154-4677-A766-12E9B073ACBF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9192575" y="476250"/>
            <a:ext cx="2520000" cy="1471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965241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Co-Branding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595872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6B002FD9-AF19-4ED6-84E1-C634A79B2BA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3429000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-1" y="2357312"/>
            <a:ext cx="7824787" cy="2669101"/>
          </a:xfrm>
          <a:gradFill flip="none" rotWithShape="1">
            <a:gsLst>
              <a:gs pos="33744">
                <a:srgbClr val="00779A">
                  <a:lumMod val="100000"/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5000">
                <a:srgbClr val="4DC7D2">
                  <a:lumMod val="90000"/>
                  <a:lumOff val="10000"/>
                  <a:alpha val="95000"/>
                </a:srgbClr>
              </a:gs>
              <a:gs pos="100000">
                <a:srgbClr val="04B1AA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wrap="square" lIns="486000" tIns="360000" rIns="360000" bIns="360000" anchor="t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20"/>
              </a:lnSpc>
              <a:spcAft>
                <a:spcPts val="1600"/>
              </a:spcAft>
              <a:defRPr sz="416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32 </a:t>
            </a:r>
            <a:r>
              <a:rPr lang="de-DE" dirty="0" err="1"/>
              <a:t>pt</a:t>
            </a:r>
            <a:endParaRPr lang="de-DE" dirty="0"/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/>
              <a:t>Subline/Referent/Datum</a:t>
            </a:r>
            <a:endParaRPr lang="de-DE" dirty="0"/>
          </a:p>
          <a:p>
            <a:pPr lvl="3"/>
            <a:r>
              <a:rPr lang="de-DE"/>
              <a:t>Referenten</a:t>
            </a:r>
            <a:endParaRPr lang="de-DE" dirty="0"/>
          </a:p>
        </p:txBody>
      </p:sp>
      <p:pic>
        <p:nvPicPr>
          <p:cNvPr id="6" name="isi_rgb_modul_send_de">
            <a:extLst>
              <a:ext uri="{FF2B5EF4-FFF2-40B4-BE49-F238E27FC236}">
                <a16:creationId xmlns:a16="http://schemas.microsoft.com/office/drawing/2014/main" id="{9E52BB4F-9154-4677-A766-12E9B073ACBF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9192575" y="476250"/>
            <a:ext cx="2520000" cy="1471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995085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große Headline unten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582164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6">
            <a:extLst>
              <a:ext uri="{FF2B5EF4-FFF2-40B4-BE49-F238E27FC236}">
                <a16:creationId xmlns:a16="http://schemas.microsoft.com/office/drawing/2014/main" id="{FCA74BF2-60AE-432D-B809-6CE549DEA89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12192000" cy="6857999"/>
          </a:xfrm>
          <a:prstGeom prst="rect">
            <a:avLst/>
          </a:prstGeom>
        </p:spPr>
      </p:pic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" y="3490309"/>
            <a:ext cx="11712574" cy="2494566"/>
          </a:xfrm>
          <a:noFill/>
        </p:spPr>
        <p:txBody>
          <a:bodyPr wrap="square" lIns="486000" tIns="360000" rIns="360000" bIns="360000" anchor="b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1pPr>
            <a:lvl2pPr>
              <a:lnSpc>
                <a:spcPts val="3200"/>
              </a:lnSpc>
              <a:spcAft>
                <a:spcPts val="640"/>
              </a:spcAft>
              <a:defRPr sz="416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/>
              <a:t>Subline/Referent/Datum</a:t>
            </a:r>
            <a:endParaRPr lang="de-DE" dirty="0"/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32 </a:t>
            </a:r>
            <a:r>
              <a:rPr lang="de-DE" dirty="0" err="1"/>
              <a:t>pt</a:t>
            </a:r>
            <a:endParaRPr lang="de-DE" dirty="0"/>
          </a:p>
          <a:p>
            <a:pPr lvl="3"/>
            <a:r>
              <a:rPr lang="de-DE"/>
              <a:t>Referenten</a:t>
            </a:r>
            <a:endParaRPr lang="de-DE" dirty="0"/>
          </a:p>
        </p:txBody>
      </p:sp>
      <p:pic>
        <p:nvPicPr>
          <p:cNvPr id="6" name="isi_rgb_modul_send_de">
            <a:extLst>
              <a:ext uri="{FF2B5EF4-FFF2-40B4-BE49-F238E27FC236}">
                <a16:creationId xmlns:a16="http://schemas.microsoft.com/office/drawing/2014/main" id="{9E52BB4F-9154-4677-A766-12E9B073ACBF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9192575" y="476250"/>
            <a:ext cx="2520000" cy="1471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349245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große Headline oben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271664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Grafik 2">
            <a:extLst>
              <a:ext uri="{FF2B5EF4-FFF2-40B4-BE49-F238E27FC236}">
                <a16:creationId xmlns:a16="http://schemas.microsoft.com/office/drawing/2014/main" id="{1CDBC4F6-986A-4A45-A632-2613DCB19926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-1" y="3323596"/>
            <a:ext cx="11712575" cy="2661279"/>
          </a:xfrm>
          <a:noFill/>
        </p:spPr>
        <p:txBody>
          <a:bodyPr wrap="square" lIns="486000" tIns="360000" rIns="360000" bIns="360000" anchor="b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20"/>
              </a:lnSpc>
              <a:spcAft>
                <a:spcPts val="1600"/>
              </a:spcAft>
              <a:defRPr sz="416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spcAft>
                <a:spcPts val="0"/>
              </a:spcAft>
              <a:defRPr sz="160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32 </a:t>
            </a:r>
            <a:r>
              <a:rPr lang="de-DE" dirty="0" err="1"/>
              <a:t>pt</a:t>
            </a:r>
            <a:endParaRPr lang="de-DE" dirty="0"/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/>
              <a:t>Subline/Referent/Datum</a:t>
            </a:r>
            <a:endParaRPr lang="de-DE" dirty="0"/>
          </a:p>
          <a:p>
            <a:pPr lvl="3"/>
            <a:r>
              <a:rPr lang="de-DE"/>
              <a:t>Referenten</a:t>
            </a:r>
            <a:endParaRPr lang="de-DE" dirty="0"/>
          </a:p>
        </p:txBody>
      </p:sp>
      <p:pic>
        <p:nvPicPr>
          <p:cNvPr id="7" name="isi_rgb_modul_send_de">
            <a:extLst>
              <a:ext uri="{FF2B5EF4-FFF2-40B4-BE49-F238E27FC236}">
                <a16:creationId xmlns:a16="http://schemas.microsoft.com/office/drawing/2014/main" id="{9E52BB4F-9154-4677-A766-12E9B073ACBF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9192575" y="476250"/>
            <a:ext cx="2520000" cy="1471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440116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 – Bild vollfläch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5B6287E-4A4F-4439-B422-A23539B268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040601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Bildplatzhalter 7">
            <a:extLst>
              <a:ext uri="{FF2B5EF4-FFF2-40B4-BE49-F238E27FC236}">
                <a16:creationId xmlns:a16="http://schemas.microsoft.com/office/drawing/2014/main" id="{43168385-808A-40CF-ACBB-25E2FEB39C9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153149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959FA541-8597-4991-9A2A-D86D39840ED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75388" y="3149600"/>
            <a:ext cx="5916612" cy="2177878"/>
          </a:xfrm>
          <a:gradFill flip="none" rotWithShape="1">
            <a:gsLst>
              <a:gs pos="33744">
                <a:srgbClr val="00779A">
                  <a:lumMod val="100000"/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5000">
                <a:srgbClr val="4DC7D2">
                  <a:lumMod val="90000"/>
                  <a:lumOff val="10000"/>
                  <a:alpha val="95000"/>
                </a:srgbClr>
              </a:gs>
              <a:gs pos="100000">
                <a:srgbClr val="04B1AA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360000" tIns="360000" rIns="360000" bIns="360000"/>
          <a:lstStyle>
            <a:lvl1pPr>
              <a:lnSpc>
                <a:spcPct val="11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20"/>
              </a:lnSpc>
              <a:spcAft>
                <a:spcPts val="1600"/>
              </a:spcAft>
              <a:defRPr sz="4160" b="1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00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Bd</a:t>
            </a:r>
            <a:r>
              <a:rPr lang="de-DE" dirty="0"/>
              <a:t>, 16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64BA1D15-0475-4B03-86A1-56C3D9C6307F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7601FDCC-3625-47DD-BF00-48818FFA896C}" type="datetime1">
              <a:rPr lang="de-DE" noProof="0" smtClean="0"/>
              <a:t>03.11.2025</a:t>
            </a:fld>
            <a:endParaRPr lang="de-DE" noProof="0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116ECF15-13D4-44C4-B713-BCD347A79FE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noProof="0"/>
              <a:t>© Fraunhofer ISI</a:t>
            </a:r>
            <a:endParaRPr lang="de-DE" noProof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DDBA688-BE97-41EF-8F34-A1FF74ABCB8E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‹Nr.›</a:t>
            </a:fld>
            <a:endParaRPr lang="de-DE"/>
          </a:p>
        </p:txBody>
      </p:sp>
      <p:pic>
        <p:nvPicPr>
          <p:cNvPr id="11" name="isi_rgb_modul_send_de">
            <a:extLst>
              <a:ext uri="{FF2B5EF4-FFF2-40B4-BE49-F238E27FC236}">
                <a16:creationId xmlns:a16="http://schemas.microsoft.com/office/drawing/2014/main" id="{9E52BB4F-9154-4677-A766-12E9B073ACBF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485774" y="485775"/>
            <a:ext cx="2520000" cy="1471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43035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27" userDrawn="1">
          <p15:clr>
            <a:srgbClr val="FBAE40"/>
          </p15:clr>
        </p15:guide>
        <p15:guide id="2" pos="3953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2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heme" Target="../theme/theme1.xml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F507918F-B2AA-4A76-81D6-4E27E906E31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1"/>
            </p:custDataLst>
            <p:extLst>
              <p:ext uri="{D42A27DB-BD31-4B8C-83A1-F6EECF244321}">
                <p14:modId xmlns:p14="http://schemas.microsoft.com/office/powerpoint/2010/main" val="1550932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2" imgW="344" imgH="345" progId="TCLayout.ActiveDocument.1">
                  <p:embed/>
                </p:oleObj>
              </mc:Choice>
              <mc:Fallback>
                <p:oleObj name="think-cell Folie" r:id="rId32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EA78C480-B66C-43DB-AAEB-3790EF5A7664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79425" y="395588"/>
            <a:ext cx="11233150" cy="382733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/>
          <a:p>
            <a:r>
              <a:rPr lang="de-DE"/>
              <a:t>Headline, Frutiger LT Com Bd, 24 pt, Kapiteltrenner</a:t>
            </a:r>
            <a:endParaRPr lang="de-DE" noProof="0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3ED48EE-75FC-48CE-8886-5B06675925EC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478199" y="1703388"/>
            <a:ext cx="11234376" cy="2640595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4" name="Datumsplatzhalter">
            <a:extLst>
              <a:ext uri="{FF2B5EF4-FFF2-40B4-BE49-F238E27FC236}">
                <a16:creationId xmlns:a16="http://schemas.microsoft.com/office/drawing/2014/main" id="{F9CDF1F4-2065-4A60-8377-ED9014CA8CBB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1309947" y="6455836"/>
            <a:ext cx="864000" cy="12311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fld id="{1CB5F8BD-F61A-4905-819A-501002AE1553}" type="datetime1">
              <a:rPr lang="de-DE" noProof="0" smtClean="0"/>
              <a:t>03.11.2025</a:t>
            </a:fld>
            <a:endParaRPr lang="de-DE" noProof="0" dirty="0"/>
          </a:p>
        </p:txBody>
      </p:sp>
      <p:sp>
        <p:nvSpPr>
          <p:cNvPr id="5" name="Copyright Fraunhofer">
            <a:extLst>
              <a:ext uri="{FF2B5EF4-FFF2-40B4-BE49-F238E27FC236}">
                <a16:creationId xmlns:a16="http://schemas.microsoft.com/office/drawing/2014/main" id="{5FF3544A-E0F0-4101-A728-3DFB567F776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6"/>
            <a:ext cx="2952000" cy="12311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 noProof="0"/>
              <a:t>© Fraunhofer ISI</a:t>
            </a:r>
            <a:endParaRPr lang="de-DE" noProof="0" dirty="0"/>
          </a:p>
        </p:txBody>
      </p:sp>
      <p:cxnSp>
        <p:nvCxnSpPr>
          <p:cNvPr id="34" name="Gerader Verbinder 33">
            <a:extLst>
              <a:ext uri="{FF2B5EF4-FFF2-40B4-BE49-F238E27FC236}">
                <a16:creationId xmlns:a16="http://schemas.microsoft.com/office/drawing/2014/main" id="{ED49F1F8-4B89-4B18-B579-CD843138501E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479425" y="1245411"/>
            <a:ext cx="360000" cy="0"/>
          </a:xfrm>
          <a:prstGeom prst="line">
            <a:avLst/>
          </a:prstGeom>
          <a:noFill/>
          <a:ln w="508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2" name="Gerader Verbinder 41">
            <a:extLst>
              <a:ext uri="{FF2B5EF4-FFF2-40B4-BE49-F238E27FC236}">
                <a16:creationId xmlns:a16="http://schemas.microsoft.com/office/drawing/2014/main" id="{86070D71-EE9E-4293-96A3-C2A0A07F7A62}"/>
              </a:ext>
            </a:extLst>
          </p:cNvPr>
          <p:cNvCxnSpPr/>
          <p:nvPr userDrawn="1"/>
        </p:nvCxnSpPr>
        <p:spPr bwMode="gray">
          <a:xfrm>
            <a:off x="0" y="6146006"/>
            <a:ext cx="12192000" cy="0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Informationsklassifizierung">
            <a:extLst>
              <a:ext uri="{FF2B5EF4-FFF2-40B4-BE49-F238E27FC236}">
                <a16:creationId xmlns:a16="http://schemas.microsoft.com/office/drawing/2014/main" id="{6C489D0F-950D-4913-86C7-7EB1061786F3}"/>
              </a:ext>
            </a:extLst>
          </p:cNvPr>
          <p:cNvSpPr txBox="1">
            <a:spLocks/>
          </p:cNvSpPr>
          <p:nvPr userDrawn="1"/>
        </p:nvSpPr>
        <p:spPr bwMode="gray">
          <a:xfrm>
            <a:off x="5373847" y="6455836"/>
            <a:ext cx="1444306" cy="12311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/>
            <a:r>
              <a:rPr lang="en-US" sz="800" b="1" dirty="0">
                <a:latin typeface="+mj-lt"/>
              </a:rPr>
              <a:t>Public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D9EED91C-7E81-4D59-8D3D-748F3728376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11843" y="6455835"/>
            <a:ext cx="408932" cy="123112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3D81EE41-304C-41C3-8185-350F2275D756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31E4CF01-6D6F-4B29-B924-0F3D1CED79B9}"/>
              </a:ext>
            </a:extLst>
          </p:cNvPr>
          <p:cNvSpPr txBox="1"/>
          <p:nvPr userDrawn="1"/>
        </p:nvSpPr>
        <p:spPr>
          <a:xfrm>
            <a:off x="479425" y="6455836"/>
            <a:ext cx="232417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l">
              <a:lnSpc>
                <a:spcPct val="100000"/>
              </a:lnSpc>
              <a:buClr>
                <a:schemeClr val="accent1"/>
              </a:buClr>
              <a:buFont typeface="Wingdings" panose="05000000000000000000" pitchFamily="2" charset="2"/>
              <a:buNone/>
            </a:pPr>
            <a:r>
              <a:rPr lang="de-DE" sz="800"/>
              <a:t>Seite</a:t>
            </a:r>
            <a:endParaRPr lang="de-DE" sz="800" dirty="0"/>
          </a:p>
        </p:txBody>
      </p:sp>
      <p:pic>
        <p:nvPicPr>
          <p:cNvPr id="13" name="isi_rgb">
            <a:extLst>
              <a:ext uri="{FF2B5EF4-FFF2-40B4-BE49-F238E27FC236}">
                <a16:creationId xmlns:a16="http://schemas.microsoft.com/office/drawing/2014/main" id="{1C489BD1-033E-40FA-9E17-CC66E278A84B}"/>
              </a:ext>
            </a:extLst>
          </p:cNvPr>
          <p:cNvPicPr>
            <a:picLocks noChangeAspect="1"/>
          </p:cNvPicPr>
          <p:nvPr userDrawn="1"/>
        </p:nvPicPr>
        <p:blipFill>
          <a:blip r:embed="rId34"/>
          <a:stretch>
            <a:fillRect/>
          </a:stretch>
        </p:blipFill>
        <p:spPr>
          <a:xfrm>
            <a:off x="10309226" y="6334126"/>
            <a:ext cx="1404000" cy="372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6233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60" r:id="rId11"/>
    <p:sldLayoutId id="2147483661" r:id="rId12"/>
    <p:sldLayoutId id="2147483663" r:id="rId13"/>
    <p:sldLayoutId id="2147483668" r:id="rId14"/>
    <p:sldLayoutId id="2147483665" r:id="rId15"/>
    <p:sldLayoutId id="2147483671" r:id="rId16"/>
    <p:sldLayoutId id="2147483664" r:id="rId17"/>
    <p:sldLayoutId id="2147483667" r:id="rId18"/>
    <p:sldLayoutId id="2147483659" r:id="rId19"/>
    <p:sldLayoutId id="2147483678" r:id="rId20"/>
    <p:sldLayoutId id="2147483679" r:id="rId21"/>
    <p:sldLayoutId id="2147483680" r:id="rId22"/>
    <p:sldLayoutId id="2147483670" r:id="rId23"/>
    <p:sldLayoutId id="2147483672" r:id="rId24"/>
    <p:sldLayoutId id="2147483673" r:id="rId25"/>
    <p:sldLayoutId id="2147483674" r:id="rId26"/>
    <p:sldLayoutId id="2147483675" r:id="rId27"/>
    <p:sldLayoutId id="2147483676" r:id="rId28"/>
    <p:sldLayoutId id="2147483677" r:id="rId29"/>
  </p:sldLayoutIdLst>
  <p:hf hdr="0"/>
  <p:txStyles>
    <p:titleStyle>
      <a:lvl1pPr algn="l" defTabSz="914400" rtl="0" eaLnBrk="1" latinLnBrk="0" hangingPunct="1">
        <a:lnSpc>
          <a:spcPct val="110000"/>
        </a:lnSpc>
        <a:spcBef>
          <a:spcPct val="0"/>
        </a:spcBef>
        <a:buNone/>
        <a:defRPr sz="2400" b="0" kern="1200">
          <a:solidFill>
            <a:schemeClr val="accent2"/>
          </a:solidFill>
          <a:latin typeface="Frutiger LT Com 65 Bold" panose="020B0803030504020204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1900"/>
        </a:spcAft>
        <a:buFont typeface="Arial" panose="020B0604020202020204" pitchFamily="34" charset="0"/>
        <a:buNone/>
        <a:defRPr sz="1600" b="0" kern="1200">
          <a:solidFill>
            <a:schemeClr val="accent1"/>
          </a:solidFill>
          <a:latin typeface="+mj-lt"/>
          <a:ea typeface="+mn-ea"/>
          <a:cs typeface="+mn-cs"/>
        </a:defRPr>
      </a:lvl1pPr>
      <a:lvl2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1900"/>
        </a:spcAft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0" indent="0" algn="l" defTabSz="914400" rtl="0" eaLnBrk="1" latinLnBrk="0" hangingPunct="1">
        <a:lnSpc>
          <a:spcPct val="110000"/>
        </a:lnSpc>
        <a:spcBef>
          <a:spcPts val="0"/>
        </a:spcBef>
        <a:buFont typeface="Arial" panose="020B0604020202020204" pitchFamily="34" charset="0"/>
        <a:buNone/>
        <a:defRPr sz="1400" b="0" kern="1200">
          <a:solidFill>
            <a:schemeClr val="tx1"/>
          </a:solidFill>
          <a:latin typeface="+mj-lt"/>
          <a:ea typeface="+mn-ea"/>
          <a:cs typeface="+mn-cs"/>
        </a:defRPr>
      </a:lvl3pPr>
      <a:lvl4pPr marL="18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accent1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36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bg2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54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bg2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16000" indent="-216000" algn="l" defTabSz="914400" rtl="0" eaLnBrk="1" latinLnBrk="0" hangingPunct="1">
        <a:lnSpc>
          <a:spcPct val="110000"/>
        </a:lnSpc>
        <a:spcBef>
          <a:spcPts val="0"/>
        </a:spcBef>
        <a:buClr>
          <a:schemeClr val="accent1"/>
        </a:buClr>
        <a:buFont typeface="+mj-lt"/>
        <a:buAutoNum type="arabicPeriod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432000" indent="-216000" algn="l" defTabSz="914400" rtl="0" eaLnBrk="1" latinLnBrk="0" hangingPunct="1">
        <a:lnSpc>
          <a:spcPct val="110000"/>
        </a:lnSpc>
        <a:spcBef>
          <a:spcPts val="0"/>
        </a:spcBef>
        <a:buClr>
          <a:schemeClr val="bg2"/>
        </a:buClr>
        <a:buFont typeface="+mj-lt"/>
        <a:buAutoNum type="arabicPeriod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648000" indent="-216000" algn="l" defTabSz="914400" rtl="0" eaLnBrk="1" latinLnBrk="0" hangingPunct="1">
        <a:lnSpc>
          <a:spcPct val="110000"/>
        </a:lnSpc>
        <a:spcBef>
          <a:spcPts val="0"/>
        </a:spcBef>
        <a:buClr>
          <a:schemeClr val="bg2"/>
        </a:buClr>
        <a:buFont typeface="+mj-lt"/>
        <a:buAutoNum type="arabicPeriod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02" userDrawn="1">
          <p15:clr>
            <a:srgbClr val="F26B43"/>
          </p15:clr>
        </p15:guide>
        <p15:guide id="2" pos="7378" userDrawn="1">
          <p15:clr>
            <a:srgbClr val="F26B43"/>
          </p15:clr>
        </p15:guide>
        <p15:guide id="3" orient="horz" pos="300" userDrawn="1">
          <p15:clr>
            <a:srgbClr val="F26B43"/>
          </p15:clr>
        </p15:guide>
        <p15:guide id="4" orient="horz" pos="4133" userDrawn="1">
          <p15:clr>
            <a:srgbClr val="F26B43"/>
          </p15:clr>
        </p15:guide>
        <p15:guide id="5" orient="horz" pos="3770" userDrawn="1">
          <p15:clr>
            <a:srgbClr val="F26B43"/>
          </p15:clr>
        </p15:guide>
        <p15:guide id="8" orient="horz" pos="1071" userDrawn="1">
          <p15:clr>
            <a:srgbClr val="F26B43"/>
          </p15:clr>
        </p15:guide>
        <p15:guide id="9" orient="horz" pos="387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8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8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measures.odyssee-mure.eu/" TargetMode="External"/><Relationship Id="rId2" Type="http://schemas.openxmlformats.org/officeDocument/2006/relationships/hyperlink" Target="https://www.indicators.odyssee-mure.eu/" TargetMode="External"/><Relationship Id="rId1" Type="http://schemas.openxmlformats.org/officeDocument/2006/relationships/slideLayout" Target="../slideLayouts/slideLayout19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9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9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9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32.xml"/><Relationship Id="rId4" Type="http://schemas.openxmlformats.org/officeDocument/2006/relationships/image" Target="../media/image1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Layout" Target="../slideLayouts/slideLayout28.xml"/><Relationship Id="rId1" Type="http://schemas.openxmlformats.org/officeDocument/2006/relationships/tags" Target="../tags/tag33.xml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1CDC082-012F-4E61-858B-C0FB30EFD63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0" y="3032939"/>
            <a:ext cx="11712575" cy="2951936"/>
          </a:xfrm>
        </p:spPr>
        <p:txBody>
          <a:bodyPr/>
          <a:lstStyle/>
          <a:p>
            <a:pPr lvl="0"/>
            <a:r>
              <a:rPr lang="en-US" noProof="0" dirty="0"/>
              <a:t>Webinar series: Integrated national energy and climate progress reports </a:t>
            </a:r>
          </a:p>
          <a:p>
            <a:pPr lvl="0"/>
            <a:r>
              <a:rPr lang="en-US" noProof="0" dirty="0"/>
              <a:t>Synergies between ODYSSEE-MURE and NECPRs</a:t>
            </a:r>
            <a:br>
              <a:rPr lang="de-DE" noProof="0" dirty="0"/>
            </a:br>
            <a:r>
              <a:rPr lang="de-DE" noProof="0" dirty="0"/>
              <a:t>—</a:t>
            </a:r>
          </a:p>
          <a:p>
            <a:pPr lvl="2"/>
            <a:r>
              <a:rPr lang="de-DE" noProof="0" dirty="0"/>
              <a:t>Wolfgang EICHHAMMER, Fraunhofer ISI / IEECP / Utrecht University – 03.11.2025</a:t>
            </a:r>
          </a:p>
        </p:txBody>
      </p:sp>
      <p:pic>
        <p:nvPicPr>
          <p:cNvPr id="4" name="isi_rgb_modul_send_de">
            <a:extLst>
              <a:ext uri="{FF2B5EF4-FFF2-40B4-BE49-F238E27FC236}">
                <a16:creationId xmlns:a16="http://schemas.microsoft.com/office/drawing/2014/main" id="{9E52BB4F-9154-4677-A766-12E9B073ACB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192575" y="476250"/>
            <a:ext cx="2520000" cy="1471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430998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777C45F-932E-9680-64CD-217501BE77E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CCBBD2E-C6AA-C8F5-53FD-BD08866379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ODYSSEE-MURE </a:t>
            </a:r>
            <a:r>
              <a:rPr lang="de-DE" dirty="0" err="1"/>
              <a:t>project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0A0BBF1B-1F18-CD80-90D1-2FEC68F0039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Quick </a:t>
            </a:r>
            <a:r>
              <a:rPr lang="de-DE" dirty="0" err="1"/>
              <a:t>Overview</a:t>
            </a:r>
            <a:endParaRPr lang="de-DE" dirty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55022D96-BD70-0BC5-0D11-B92F12D4185A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21AF35FA-38CA-44EF-8E47-8E0282D5182B}" type="datetime1">
              <a:rPr lang="de-DE" noProof="0" smtClean="0"/>
              <a:t>03.11.2025</a:t>
            </a:fld>
            <a:endParaRPr lang="de-DE" noProof="0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7B2418F6-9272-5CDB-99F2-577E55853FB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noProof="0" dirty="0"/>
              <a:t>© Fraunhofer ISI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38AD284C-A8F2-32B4-CAF7-38FDFCDFE122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2</a:t>
            </a:fld>
            <a:endParaRPr lang="de-DE"/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A1807619-6F08-171D-9167-51822813B34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51668" y="519952"/>
            <a:ext cx="7333387" cy="5396753"/>
          </a:xfrm>
          <a:prstGeom prst="rect">
            <a:avLst/>
          </a:prstGeom>
        </p:spPr>
      </p:pic>
      <p:pic>
        <p:nvPicPr>
          <p:cNvPr id="16" name="Grafik 15">
            <a:extLst>
              <a:ext uri="{FF2B5EF4-FFF2-40B4-BE49-F238E27FC236}">
                <a16:creationId xmlns:a16="http://schemas.microsoft.com/office/drawing/2014/main" id="{B2CAF849-6ABC-5F69-97A8-6E8352BCAD1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15371" y="1703295"/>
            <a:ext cx="2441103" cy="4957482"/>
          </a:xfrm>
          <a:prstGeom prst="rect">
            <a:avLst/>
          </a:prstGeom>
        </p:spPr>
      </p:pic>
      <p:pic>
        <p:nvPicPr>
          <p:cNvPr id="18" name="Grafik 17">
            <a:extLst>
              <a:ext uri="{FF2B5EF4-FFF2-40B4-BE49-F238E27FC236}">
                <a16:creationId xmlns:a16="http://schemas.microsoft.com/office/drawing/2014/main" id="{1430B62D-762D-DF4C-E088-84AFE9B09E0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580424" y="5982429"/>
            <a:ext cx="2997354" cy="7112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176623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0BFF945-9535-0AA9-8761-6D9C630714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ODYSSEE-MURE </a:t>
            </a:r>
            <a:r>
              <a:rPr lang="de-DE" dirty="0" err="1"/>
              <a:t>project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9BCDE87-AEE1-4898-7B50-6F2897466AD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 err="1"/>
              <a:t>Overview</a:t>
            </a:r>
            <a:endParaRPr lang="de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B745BBBF-7275-9DAC-E442-8F0F74E5902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9425" y="1327269"/>
            <a:ext cx="11407775" cy="4739439"/>
          </a:xfrm>
          <a:solidFill>
            <a:schemeClr val="accent4">
              <a:lumMod val="20000"/>
              <a:lumOff val="80000"/>
            </a:schemeClr>
          </a:solidFill>
        </p:spPr>
        <p:txBody>
          <a:bodyPr/>
          <a:lstStyle/>
          <a:p>
            <a:pPr>
              <a:spcAft>
                <a:spcPts val="600"/>
              </a:spcAft>
            </a:pPr>
            <a:r>
              <a:rPr lang="en-US" b="1" cap="all" dirty="0"/>
              <a:t>Project objectives</a:t>
            </a:r>
          </a:p>
          <a:p>
            <a:pPr>
              <a:spcAft>
                <a:spcPts val="600"/>
              </a:spcAft>
            </a:pPr>
            <a:r>
              <a:rPr lang="en-US" dirty="0">
                <a:solidFill>
                  <a:schemeClr val="tx1"/>
                </a:solidFill>
              </a:rPr>
              <a:t>​The 2025-2027 period of the project, ODYSSEE-MURE is focused on supporting the national implementation and monitoring of key provisions of the Energy Efficiency Directive recast (EED, (EU)2023/1791).</a:t>
            </a:r>
          </a:p>
          <a:p>
            <a:pPr>
              <a:spcAft>
                <a:spcPts val="600"/>
              </a:spcAft>
            </a:pPr>
            <a:r>
              <a:rPr lang="en-US" b="1" cap="all" dirty="0" err="1"/>
              <a:t>Odyssee</a:t>
            </a:r>
            <a:r>
              <a:rPr lang="en-US" b="1" cap="all" dirty="0"/>
              <a:t> and Mure databases: ODYSSEE-MURE - Monitoring the EED-Recast, supported by the LIFE </a:t>
            </a:r>
            <a:r>
              <a:rPr lang="en-US" b="1" cap="all" dirty="0" err="1"/>
              <a:t>programme</a:t>
            </a:r>
            <a:r>
              <a:rPr lang="en-US" b="1" cap="all" dirty="0"/>
              <a:t> of the European Commission, relies on 2 complementary databases: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b="1" dirty="0">
                <a:solidFill>
                  <a:schemeClr val="tx1"/>
                </a:solidFill>
                <a:hlinkClick r:id="rId2" tooltip="Access Odyssee data tools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ODYSSEE</a:t>
            </a:r>
            <a:r>
              <a:rPr lang="en-US" dirty="0">
                <a:solidFill>
                  <a:schemeClr val="tx1"/>
                </a:solidFill>
              </a:rPr>
              <a:t> contains </a:t>
            </a:r>
            <a:r>
              <a:rPr lang="en-US" dirty="0">
                <a:solidFill>
                  <a:srgbClr val="FF0000"/>
                </a:solidFill>
              </a:rPr>
              <a:t>detailed energy efficiency and CO</a:t>
            </a:r>
            <a:r>
              <a:rPr lang="en-US" baseline="-25000" dirty="0">
                <a:solidFill>
                  <a:srgbClr val="FF0000"/>
                </a:solidFill>
              </a:rPr>
              <a:t>2</a:t>
            </a:r>
            <a:r>
              <a:rPr lang="en-US" dirty="0">
                <a:solidFill>
                  <a:srgbClr val="FF0000"/>
                </a:solidFill>
              </a:rPr>
              <a:t> indicators</a:t>
            </a:r>
            <a:r>
              <a:rPr lang="en-US" dirty="0">
                <a:solidFill>
                  <a:schemeClr val="tx1"/>
                </a:solidFill>
              </a:rPr>
              <a:t> with data on energy consumption, their drivers (e.g. activity indicators) and related CO</a:t>
            </a:r>
            <a:r>
              <a:rPr lang="en-US" baseline="-25000" dirty="0">
                <a:solidFill>
                  <a:schemeClr val="tx1"/>
                </a:solidFill>
              </a:rPr>
              <a:t>2</a:t>
            </a:r>
            <a:r>
              <a:rPr lang="en-US" dirty="0">
                <a:solidFill>
                  <a:schemeClr val="tx1"/>
                </a:solidFill>
              </a:rPr>
              <a:t> emissions.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b="1" dirty="0">
                <a:solidFill>
                  <a:schemeClr val="tx1"/>
                </a:solidFill>
                <a:hlinkClick r:id="rId3" tooltip="Access Mure data tools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MURE</a:t>
            </a:r>
            <a:r>
              <a:rPr lang="en-US" dirty="0">
                <a:solidFill>
                  <a:schemeClr val="tx1"/>
                </a:solidFill>
              </a:rPr>
              <a:t> provides </a:t>
            </a:r>
            <a:r>
              <a:rPr lang="en-US" dirty="0">
                <a:solidFill>
                  <a:srgbClr val="FF0000"/>
                </a:solidFill>
              </a:rPr>
              <a:t>quantitative, semi-quantitative and qualitative information </a:t>
            </a:r>
            <a:r>
              <a:rPr lang="en-US" dirty="0">
                <a:solidFill>
                  <a:schemeClr val="tx1"/>
                </a:solidFill>
              </a:rPr>
              <a:t>on energy efficiency policies implemented at EU or national level.</a:t>
            </a:r>
          </a:p>
          <a:p>
            <a:pPr>
              <a:spcAft>
                <a:spcPts val="600"/>
              </a:spcAft>
            </a:pPr>
            <a:r>
              <a:rPr lang="en-US" dirty="0"/>
              <a:t>​</a:t>
            </a:r>
            <a:r>
              <a:rPr lang="en-US" b="1" cap="all" dirty="0"/>
              <a:t>Tools and Analyses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Decomposition Tool / Policy Assessment Tool (policy gaps) / Energy Efficiency Scoreboard / Energy Savings Tool / Link to Multiple Benefits Tool </a:t>
            </a:r>
            <a:r>
              <a:rPr lang="en-US" dirty="0" err="1">
                <a:solidFill>
                  <a:schemeClr val="tx1"/>
                </a:solidFill>
              </a:rPr>
              <a:t>MICATool</a:t>
            </a:r>
            <a:r>
              <a:rPr lang="en-US" dirty="0">
                <a:solidFill>
                  <a:schemeClr val="tx1"/>
                </a:solidFill>
              </a:rPr>
              <a:t> …</a:t>
            </a:r>
          </a:p>
          <a:p>
            <a:pPr>
              <a:spcAft>
                <a:spcPts val="600"/>
              </a:spcAft>
            </a:pPr>
            <a:r>
              <a:rPr lang="en-US" dirty="0"/>
              <a:t>Training</a:t>
            </a:r>
            <a:endParaRPr lang="en-US" b="1" cap="all" dirty="0"/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E.g. </a:t>
            </a:r>
            <a:r>
              <a:rPr lang="en-US">
                <a:solidFill>
                  <a:schemeClr val="tx1"/>
                </a:solidFill>
              </a:rPr>
              <a:t>Quantitative </a:t>
            </a:r>
            <a:r>
              <a:rPr lang="en-US" dirty="0">
                <a:solidFill>
                  <a:schemeClr val="tx1"/>
                </a:solidFill>
              </a:rPr>
              <a:t>and semi-quantitative assessment of policy impacts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Exploitation and analysis with energy efficiency indicators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04C68389-BFF2-03EB-A732-E0AE510CCA25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21AF35FA-38CA-44EF-8E47-8E0282D5182B}" type="datetime1">
              <a:rPr lang="de-DE" noProof="0" smtClean="0"/>
              <a:t>03.11.2025</a:t>
            </a:fld>
            <a:endParaRPr lang="de-DE" noProof="0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30C56589-AA8E-D9E7-44E7-CE64B140C7B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noProof="0" dirty="0"/>
              <a:t>© Fraunhofer ISI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CE2B5942-B06A-8C4E-8978-AC7B952DF067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7088316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1182578-DF30-6F27-DC25-B888F3E6060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3F97A52-5DBF-BFE8-EE3C-9CE7F2ACEE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ODYSSEE-MURE </a:t>
            </a:r>
            <a:r>
              <a:rPr lang="de-DE" dirty="0" err="1"/>
              <a:t>project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21ABAEC0-0912-BE85-AA09-96D3BCDC8EB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The </a:t>
            </a:r>
            <a:r>
              <a:rPr lang="de-DE"/>
              <a:t>MURE </a:t>
            </a:r>
            <a:r>
              <a:rPr lang="de-DE" dirty="0"/>
              <a:t>D</a:t>
            </a:r>
            <a:r>
              <a:rPr lang="de-DE"/>
              <a:t>atabase </a:t>
            </a:r>
            <a:r>
              <a:rPr lang="de-DE" dirty="0"/>
              <a:t>on Energy Efficiency </a:t>
            </a:r>
            <a:r>
              <a:rPr lang="de-DE" dirty="0" err="1"/>
              <a:t>Measures</a:t>
            </a:r>
            <a:endParaRPr lang="de-DE" dirty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1D294EEE-625A-004C-0442-15B2D7C16C4F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21AF35FA-38CA-44EF-8E47-8E0282D5182B}" type="datetime1">
              <a:rPr lang="de-DE" noProof="0" smtClean="0"/>
              <a:t>03.11.2025</a:t>
            </a:fld>
            <a:endParaRPr lang="de-DE" noProof="0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03CFF6A9-BC20-AF03-94F0-DAA5019DC9D3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noProof="0" dirty="0"/>
              <a:t>© Fraunhofer ISI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83D682B0-81AC-470C-780F-9F3AC7D169F8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4</a:t>
            </a:fld>
            <a:endParaRPr lang="de-DE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A38E8F4D-5311-C410-D7E0-A9650390196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86823" y="1422058"/>
            <a:ext cx="10722473" cy="4607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089258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72EF2CE-C706-E44B-D990-9E6F8AC3F55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9D9FD6A-697B-B2B2-C73D-03C6E9B1D5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279047"/>
            <a:ext cx="11233150" cy="382733"/>
          </a:xfrm>
        </p:spPr>
        <p:txBody>
          <a:bodyPr/>
          <a:lstStyle/>
          <a:p>
            <a:r>
              <a:rPr lang="de-DE" dirty="0"/>
              <a:t>ODYSSEE-MURE </a:t>
            </a:r>
            <a:r>
              <a:rPr lang="de-DE" dirty="0" err="1"/>
              <a:t>project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0AD56791-7BAD-532A-A0AE-C04C3010FEC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688673"/>
            <a:ext cx="11233150" cy="318933"/>
          </a:xfrm>
        </p:spPr>
        <p:txBody>
          <a:bodyPr/>
          <a:lstStyle/>
          <a:p>
            <a:r>
              <a:rPr lang="de-DE" dirty="0" err="1"/>
              <a:t>Measures</a:t>
            </a:r>
            <a:r>
              <a:rPr lang="de-DE" dirty="0"/>
              <a:t> in </a:t>
            </a:r>
            <a:r>
              <a:rPr lang="de-DE" dirty="0" err="1"/>
              <a:t>the</a:t>
            </a:r>
            <a:r>
              <a:rPr lang="de-DE" dirty="0"/>
              <a:t> MURE </a:t>
            </a:r>
            <a:r>
              <a:rPr lang="de-DE" dirty="0" err="1"/>
              <a:t>database</a:t>
            </a:r>
            <a:endParaRPr lang="de-DE" dirty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9DAA51B9-1025-5F49-CFE9-D42A8A8864BD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21AF35FA-38CA-44EF-8E47-8E0282D5182B}" type="datetime1">
              <a:rPr lang="de-DE" noProof="0" smtClean="0"/>
              <a:t>03.11.2025</a:t>
            </a:fld>
            <a:endParaRPr lang="de-DE" noProof="0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0452140B-F7AC-4E62-C7C5-D50D84D246BC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noProof="0" dirty="0"/>
              <a:t>© Fraunhofer ISI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B9B61EE1-03CC-2408-B593-5B9E0AEE1ED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5</a:t>
            </a:fld>
            <a:endParaRPr lang="de-DE"/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D110B306-DD62-583C-1D15-61EFAE232D8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75831" y="1161054"/>
            <a:ext cx="8912875" cy="49234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741564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A7094B4-381A-B2B3-E931-CBD14A82F6F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7BDD3C5-A5B9-126F-586B-61881759DB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252153"/>
            <a:ext cx="11233150" cy="382733"/>
          </a:xfrm>
        </p:spPr>
        <p:txBody>
          <a:bodyPr/>
          <a:lstStyle/>
          <a:p>
            <a:r>
              <a:rPr lang="de-DE" dirty="0"/>
              <a:t>ODYSSEE-MURE </a:t>
            </a:r>
            <a:r>
              <a:rPr lang="de-DE" dirty="0" err="1"/>
              <a:t>project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67335B3D-191E-F874-DE0C-FBC30A4C19D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06320" y="661780"/>
            <a:ext cx="11233150" cy="318933"/>
          </a:xfrm>
        </p:spPr>
        <p:txBody>
          <a:bodyPr/>
          <a:lstStyle/>
          <a:p>
            <a:r>
              <a:rPr lang="de-DE" dirty="0" err="1"/>
              <a:t>Savings</a:t>
            </a:r>
            <a:r>
              <a:rPr lang="de-DE" dirty="0"/>
              <a:t> in </a:t>
            </a:r>
            <a:r>
              <a:rPr lang="de-DE" dirty="0" err="1"/>
              <a:t>the</a:t>
            </a:r>
            <a:r>
              <a:rPr lang="de-DE" dirty="0"/>
              <a:t> MURE </a:t>
            </a:r>
            <a:r>
              <a:rPr lang="de-DE" dirty="0" err="1"/>
              <a:t>database</a:t>
            </a:r>
            <a:endParaRPr lang="de-DE" dirty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DD0A8185-9549-E1C0-338C-8DB277EF8610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21AF35FA-38CA-44EF-8E47-8E0282D5182B}" type="datetime1">
              <a:rPr lang="de-DE" noProof="0" smtClean="0"/>
              <a:t>03.11.2025</a:t>
            </a:fld>
            <a:endParaRPr lang="de-DE" noProof="0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76FC34C8-742A-7FAE-AD77-1C1550B9AAE5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noProof="0" dirty="0"/>
              <a:t>© Fraunhofer ISI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9078B0AC-6989-BEC1-A33B-C0173C2C723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6</a:t>
            </a:fld>
            <a:endParaRPr lang="de-DE"/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27F9C1FC-96C8-D2E8-6BD2-BAF2C911BDF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49525" y="1360906"/>
            <a:ext cx="7670994" cy="45996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199345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>
            <a:extLst>
              <a:ext uri="{FF2B5EF4-FFF2-40B4-BE49-F238E27FC236}">
                <a16:creationId xmlns:a16="http://schemas.microsoft.com/office/drawing/2014/main" id="{1C47FCF3-8072-A435-329E-644E8455AC3E}"/>
              </a:ext>
            </a:extLst>
          </p:cNvPr>
          <p:cNvSpPr>
            <a:spLocks/>
          </p:cNvSpPr>
          <p:nvPr/>
        </p:nvSpPr>
        <p:spPr bwMode="gray">
          <a:xfrm>
            <a:off x="3768388" y="3783416"/>
            <a:ext cx="7971080" cy="1206181"/>
          </a:xfrm>
          <a:prstGeom prst="rect">
            <a:avLst/>
          </a:prstGeom>
          <a:solidFill>
            <a:srgbClr val="E5EEF2"/>
          </a:solidFill>
          <a:ln w="9525">
            <a:noFill/>
            <a:round/>
            <a:headEnd type="arrow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ot="0" spcFirstLastPara="0" vertOverflow="overflow" horzOverflow="overflow" vert="horz" wrap="square" lIns="540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400" b="1" dirty="0"/>
              <a:t>Policy Assessment Tool</a:t>
            </a: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400" b="1" dirty="0" err="1"/>
              <a:t>Decomposition</a:t>
            </a:r>
            <a:r>
              <a:rPr lang="de-DE" sz="1400" b="1" dirty="0"/>
              <a:t> Tool</a:t>
            </a: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400" b="1" dirty="0"/>
              <a:t>Energy Efficiency Scoreboard</a:t>
            </a: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400" b="1" dirty="0"/>
              <a:t>Energy </a:t>
            </a:r>
            <a:r>
              <a:rPr lang="de-DE" sz="1400" b="1" dirty="0" err="1"/>
              <a:t>Savings</a:t>
            </a:r>
            <a:r>
              <a:rPr lang="de-DE" sz="1400" b="1" dirty="0"/>
              <a:t> Tool</a:t>
            </a: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400" b="1" dirty="0"/>
              <a:t>Multiple Benefits Analysis</a:t>
            </a:r>
          </a:p>
        </p:txBody>
      </p:sp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F6344B7-B04A-4214-BF2C-E5457B14419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101023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C240843-948F-43BA-BB78-2CFF2F3170F5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79425" y="395288"/>
            <a:ext cx="11233150" cy="382733"/>
          </a:xfrm>
        </p:spPr>
        <p:txBody>
          <a:bodyPr vert="horz"/>
          <a:lstStyle/>
          <a:p>
            <a:r>
              <a:rPr lang="de-DE" dirty="0"/>
              <a:t>Support </a:t>
            </a:r>
            <a:r>
              <a:rPr lang="de-DE" dirty="0" err="1"/>
              <a:t>for</a:t>
            </a:r>
            <a:r>
              <a:rPr lang="de-DE" dirty="0"/>
              <a:t> Progress Reports</a:t>
            </a:r>
          </a:p>
        </p:txBody>
      </p:sp>
      <p:sp>
        <p:nvSpPr>
          <p:cNvPr id="14" name="Textplatzhalter 6">
            <a:extLst>
              <a:ext uri="{FF2B5EF4-FFF2-40B4-BE49-F238E27FC236}">
                <a16:creationId xmlns:a16="http://schemas.microsoft.com/office/drawing/2014/main" id="{AA61EA24-9B46-46D0-97E2-F3176AC019DF}"/>
              </a:ext>
            </a:extLst>
          </p:cNvPr>
          <p:cNvSpPr txBox="1">
            <a:spLocks/>
          </p:cNvSpPr>
          <p:nvPr/>
        </p:nvSpPr>
        <p:spPr bwMode="gray">
          <a:xfrm>
            <a:off x="2" y="1498754"/>
            <a:ext cx="1748115" cy="4543458"/>
          </a:xfrm>
          <a:prstGeom prst="rect">
            <a:avLst/>
          </a:prstGeom>
          <a:gradFill flip="none" rotWithShape="1">
            <a:gsLst>
              <a:gs pos="34000">
                <a:srgbClr val="00779A"/>
              </a:gs>
              <a:gs pos="0">
                <a:srgbClr val="014A6B"/>
              </a:gs>
              <a:gs pos="74000">
                <a:schemeClr val="accent5">
                  <a:lumMod val="90000"/>
                  <a:lumOff val="10000"/>
                </a:schemeClr>
              </a:gs>
              <a:gs pos="100000">
                <a:srgbClr val="09B2AC"/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486000" tIns="288000" rIns="288000" bIns="288000" numCol="1" spcCol="360000" anchor="ctr">
            <a:noAutofit/>
          </a:bodyPr>
          <a:lstStyle>
            <a:lvl1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80" b="0" kern="1200">
                <a:solidFill>
                  <a:schemeClr val="bg1"/>
                </a:solidFill>
                <a:latin typeface="Frutiger LT Com 75 Black" panose="020B0A03040504030204" pitchFamily="34" charset="0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+mj-lt"/>
              <a:buAutoNum type="arabicPeriod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+mj-lt"/>
              <a:buAutoNum type="arabicPeriod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+mj-lt"/>
              <a:buAutoNum type="arabicPeriod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10000"/>
              </a:lnSpc>
            </a:pPr>
            <a:r>
              <a:rPr lang="de-DE" dirty="0"/>
              <a:t>Support </a:t>
            </a:r>
            <a:r>
              <a:rPr lang="de-DE" dirty="0" err="1"/>
              <a:t>from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ODYSSEE-MURE </a:t>
            </a:r>
            <a:r>
              <a:rPr lang="de-DE" dirty="0" err="1"/>
              <a:t>project</a:t>
            </a:r>
            <a:endParaRPr lang="de-DE" dirty="0"/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3F02AE69-12F0-4AF7-A789-99ACC1F59EDA}"/>
              </a:ext>
            </a:extLst>
          </p:cNvPr>
          <p:cNvSpPr>
            <a:spLocks/>
          </p:cNvSpPr>
          <p:nvPr/>
        </p:nvSpPr>
        <p:spPr bwMode="gray">
          <a:xfrm>
            <a:off x="3741495" y="1498754"/>
            <a:ext cx="7971080" cy="1009180"/>
          </a:xfrm>
          <a:prstGeom prst="rect">
            <a:avLst/>
          </a:prstGeom>
          <a:solidFill>
            <a:srgbClr val="E5EEF2"/>
          </a:solidFill>
          <a:ln w="9525">
            <a:noFill/>
            <a:round/>
            <a:headEnd type="arrow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540000" tIns="72000" rIns="72000" bIns="72000" rtlCol="0" anchor="ctr"/>
          <a:lstStyle/>
          <a:p>
            <a:pPr>
              <a:lnSpc>
                <a:spcPct val="110000"/>
              </a:lnSpc>
            </a:pPr>
            <a:r>
              <a:rPr lang="en-US" sz="1400" b="1" dirty="0"/>
              <a:t>Measure impact quantifications</a:t>
            </a:r>
          </a:p>
          <a:p>
            <a:pPr>
              <a:lnSpc>
                <a:spcPct val="110000"/>
              </a:lnSpc>
            </a:pPr>
            <a:r>
              <a:rPr lang="en-US" sz="1400" b="1" dirty="0"/>
              <a:t>Support in quantifying measures (e.g. </a:t>
            </a:r>
            <a:r>
              <a:rPr lang="en-US" sz="1400" b="1" dirty="0" err="1"/>
              <a:t>EnC</a:t>
            </a:r>
            <a:r>
              <a:rPr lang="en-US" sz="1400" b="1" dirty="0"/>
              <a:t>)</a:t>
            </a:r>
          </a:p>
          <a:p>
            <a:pPr>
              <a:lnSpc>
                <a:spcPct val="110000"/>
              </a:lnSpc>
            </a:pPr>
            <a:r>
              <a:rPr lang="en-US" sz="1400" b="1" dirty="0"/>
              <a:t>Learning from other countries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8E616D0F-8737-4E03-8542-E6A68FD7CB00}"/>
              </a:ext>
            </a:extLst>
          </p:cNvPr>
          <p:cNvSpPr>
            <a:spLocks/>
          </p:cNvSpPr>
          <p:nvPr/>
        </p:nvSpPr>
        <p:spPr bwMode="gray">
          <a:xfrm>
            <a:off x="3741495" y="2635934"/>
            <a:ext cx="7971080" cy="1009180"/>
          </a:xfrm>
          <a:prstGeom prst="rect">
            <a:avLst/>
          </a:prstGeom>
          <a:solidFill>
            <a:srgbClr val="E5EEF2"/>
          </a:solidFill>
          <a:ln w="9525">
            <a:noFill/>
            <a:round/>
            <a:headEnd type="arrow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ot="0" spcFirstLastPara="0" vertOverflow="overflow" horzOverflow="overflow" vert="horz" wrap="square" lIns="540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400" b="1" dirty="0"/>
              <a:t>Statistical </a:t>
            </a:r>
            <a:r>
              <a:rPr lang="de-DE" sz="1400" b="1" dirty="0" err="1"/>
              <a:t>analysis</a:t>
            </a:r>
            <a:r>
              <a:rPr lang="de-DE" sz="1400" b="1" dirty="0"/>
              <a:t> of </a:t>
            </a:r>
            <a:r>
              <a:rPr lang="de-DE" sz="1400" b="1" dirty="0" err="1"/>
              <a:t>progress</a:t>
            </a:r>
            <a:r>
              <a:rPr lang="de-DE" sz="1400" b="1" dirty="0"/>
              <a:t> in </a:t>
            </a:r>
            <a:r>
              <a:rPr lang="de-DE" sz="1400" b="1" dirty="0" err="1"/>
              <a:t>energy</a:t>
            </a:r>
            <a:r>
              <a:rPr lang="de-DE" sz="1400" b="1" dirty="0"/>
              <a:t> </a:t>
            </a:r>
            <a:r>
              <a:rPr lang="de-DE" sz="1400" b="1" dirty="0" err="1"/>
              <a:t>efficiency</a:t>
            </a:r>
            <a:endParaRPr lang="de-DE" sz="1400" b="1" dirty="0"/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400" b="1" dirty="0"/>
              <a:t>Impact of different </a:t>
            </a:r>
            <a:r>
              <a:rPr lang="de-DE" sz="1400" b="1" dirty="0" err="1"/>
              <a:t>factors</a:t>
            </a:r>
            <a:r>
              <a:rPr lang="de-DE" sz="1400" b="1" dirty="0"/>
              <a:t> (</a:t>
            </a:r>
            <a:r>
              <a:rPr lang="de-DE" sz="1400" b="1" dirty="0" err="1"/>
              <a:t>beyond</a:t>
            </a:r>
            <a:r>
              <a:rPr lang="de-DE" sz="1400" b="1" dirty="0"/>
              <a:t> </a:t>
            </a:r>
            <a:r>
              <a:rPr lang="de-DE" sz="1400" b="1" dirty="0" err="1"/>
              <a:t>policy</a:t>
            </a:r>
            <a:r>
              <a:rPr lang="de-DE" sz="1400" b="1" dirty="0"/>
              <a:t>) on </a:t>
            </a:r>
            <a:r>
              <a:rPr lang="de-DE" sz="1400" b="1" dirty="0" err="1"/>
              <a:t>the</a:t>
            </a:r>
            <a:r>
              <a:rPr lang="de-DE" sz="1400" b="1" dirty="0"/>
              <a:t> </a:t>
            </a:r>
            <a:r>
              <a:rPr lang="de-DE" sz="1400" b="1" dirty="0" err="1"/>
              <a:t>evolution</a:t>
            </a:r>
            <a:r>
              <a:rPr lang="de-DE" sz="1400" b="1" dirty="0"/>
              <a:t> of </a:t>
            </a:r>
            <a:r>
              <a:rPr lang="de-DE" sz="1400" b="1" dirty="0" err="1"/>
              <a:t>energy</a:t>
            </a:r>
            <a:r>
              <a:rPr lang="de-DE" sz="1400" b="1" dirty="0"/>
              <a:t> </a:t>
            </a:r>
            <a:r>
              <a:rPr lang="de-DE" sz="1400" b="1" dirty="0" err="1"/>
              <a:t>demand</a:t>
            </a:r>
            <a:endParaRPr lang="de-DE" sz="1400" b="1" dirty="0"/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400" b="1" dirty="0" err="1"/>
              <a:t>Calculation</a:t>
            </a:r>
            <a:r>
              <a:rPr lang="de-DE" sz="1400" b="1" dirty="0"/>
              <a:t> of top-down </a:t>
            </a:r>
            <a:r>
              <a:rPr lang="de-DE" sz="1400" b="1" dirty="0" err="1"/>
              <a:t>savings</a:t>
            </a:r>
            <a:endParaRPr lang="de-DE" sz="1400" b="1" dirty="0"/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400" b="1" dirty="0" err="1"/>
              <a:t>Full</a:t>
            </a:r>
            <a:r>
              <a:rPr lang="de-DE" sz="1400" b="1" dirty="0"/>
              <a:t> </a:t>
            </a:r>
            <a:r>
              <a:rPr lang="de-DE" sz="1400" b="1" dirty="0" err="1"/>
              <a:t>sectoral</a:t>
            </a:r>
            <a:r>
              <a:rPr lang="de-DE" sz="1400" b="1" dirty="0"/>
              <a:t> </a:t>
            </a:r>
            <a:r>
              <a:rPr lang="de-DE" sz="1400" b="1" dirty="0" err="1"/>
              <a:t>coverage</a:t>
            </a:r>
            <a:r>
              <a:rPr lang="de-DE" sz="1400" b="1" dirty="0"/>
              <a:t> </a:t>
            </a:r>
          </a:p>
        </p:txBody>
      </p:sp>
      <p:sp>
        <p:nvSpPr>
          <p:cNvPr id="20" name="Gleichschenkliges Dreieck 19">
            <a:extLst>
              <a:ext uri="{FF2B5EF4-FFF2-40B4-BE49-F238E27FC236}">
                <a16:creationId xmlns:a16="http://schemas.microsoft.com/office/drawing/2014/main" id="{22401DC5-C6D9-4924-8B1A-ECE966164C49}"/>
              </a:ext>
            </a:extLst>
          </p:cNvPr>
          <p:cNvSpPr>
            <a:spLocks/>
          </p:cNvSpPr>
          <p:nvPr/>
        </p:nvSpPr>
        <p:spPr bwMode="gray">
          <a:xfrm rot="5400000">
            <a:off x="2422897" y="889027"/>
            <a:ext cx="900000" cy="2249560"/>
          </a:xfrm>
          <a:prstGeom prst="triangle">
            <a:avLst/>
          </a:prstGeom>
          <a:solidFill>
            <a:schemeClr val="accent2"/>
          </a:solidFill>
          <a:ln w="9525">
            <a:noFill/>
            <a:round/>
            <a:headEnd type="arrow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vert270" rtlCol="0" anchor="ctr"/>
          <a:lstStyle/>
          <a:p>
            <a:pPr algn="ctr"/>
            <a:r>
              <a:rPr lang="de-DE" dirty="0">
                <a:solidFill>
                  <a:schemeClr val="bg1"/>
                </a:solidFill>
                <a:latin typeface="+mj-lt"/>
              </a:rPr>
              <a:t>MURE</a:t>
            </a:r>
          </a:p>
        </p:txBody>
      </p:sp>
      <p:sp>
        <p:nvSpPr>
          <p:cNvPr id="21" name="Gleichschenkliges Dreieck 20">
            <a:extLst>
              <a:ext uri="{FF2B5EF4-FFF2-40B4-BE49-F238E27FC236}">
                <a16:creationId xmlns:a16="http://schemas.microsoft.com/office/drawing/2014/main" id="{54103742-23AA-4FEF-BCC9-A460D57DF6A3}"/>
              </a:ext>
            </a:extLst>
          </p:cNvPr>
          <p:cNvSpPr>
            <a:spLocks/>
          </p:cNvSpPr>
          <p:nvPr/>
        </p:nvSpPr>
        <p:spPr bwMode="gray">
          <a:xfrm rot="5400000">
            <a:off x="2467721" y="1961152"/>
            <a:ext cx="900000" cy="2339207"/>
          </a:xfrm>
          <a:prstGeom prst="triangle">
            <a:avLst/>
          </a:prstGeom>
          <a:solidFill>
            <a:schemeClr val="accent2"/>
          </a:solidFill>
          <a:ln w="9525">
            <a:noFill/>
            <a:round/>
            <a:headEnd type="arrow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vert270" rtlCol="0" anchor="ctr"/>
          <a:lstStyle/>
          <a:p>
            <a:pPr algn="ctr"/>
            <a:r>
              <a:rPr lang="de-DE" dirty="0">
                <a:solidFill>
                  <a:schemeClr val="bg1"/>
                </a:solidFill>
                <a:latin typeface="+mj-lt"/>
              </a:rPr>
              <a:t>ODYSSEE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B0BC625B-D71F-4D93-A26A-FD330A10FB3F}"/>
              </a:ext>
            </a:extLst>
          </p:cNvPr>
          <p:cNvSpPr>
            <a:spLocks noGrp="1"/>
          </p:cNvSpPr>
          <p:nvPr>
            <p:ph type="dt" sz="half" idx="18"/>
          </p:nvPr>
        </p:nvSpPr>
        <p:spPr>
          <a:xfrm>
            <a:off x="1309947" y="6455836"/>
            <a:ext cx="864000" cy="123111"/>
          </a:xfrm>
        </p:spPr>
        <p:txBody>
          <a:bodyPr/>
          <a:lstStyle/>
          <a:p>
            <a:fld id="{E42458CE-7769-4D82-8C09-9ACB35FFB34E}" type="datetime1">
              <a:rPr lang="de-DE" noProof="0" smtClean="0"/>
              <a:t>03.11.2025</a:t>
            </a:fld>
            <a:endParaRPr lang="de-DE" noProof="0" dirty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5C2E37E3-560A-4240-B80D-91B44ECD2AF0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>
          <a:xfrm>
            <a:off x="2297897" y="6455836"/>
            <a:ext cx="2952000" cy="123111"/>
          </a:xfrm>
        </p:spPr>
        <p:txBody>
          <a:bodyPr/>
          <a:lstStyle/>
          <a:p>
            <a:r>
              <a:rPr lang="de-DE" noProof="0"/>
              <a:t>© Fraunhofer ISI</a:t>
            </a:r>
            <a:endParaRPr lang="de-DE" noProof="0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6E4E2C5B-37DA-43AE-8D7A-58EA849B3A3A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7</a:t>
            </a:fld>
            <a:endParaRPr lang="de-DE"/>
          </a:p>
        </p:txBody>
      </p:sp>
      <p:sp>
        <p:nvSpPr>
          <p:cNvPr id="4" name="Gleichschenkliges Dreieck 3">
            <a:extLst>
              <a:ext uri="{FF2B5EF4-FFF2-40B4-BE49-F238E27FC236}">
                <a16:creationId xmlns:a16="http://schemas.microsoft.com/office/drawing/2014/main" id="{AFBB56E4-9567-ED47-B370-6C2BED58D071}"/>
              </a:ext>
            </a:extLst>
          </p:cNvPr>
          <p:cNvSpPr>
            <a:spLocks/>
          </p:cNvSpPr>
          <p:nvPr/>
        </p:nvSpPr>
        <p:spPr bwMode="gray">
          <a:xfrm rot="5400000">
            <a:off x="2467721" y="3175265"/>
            <a:ext cx="900000" cy="2339207"/>
          </a:xfrm>
          <a:prstGeom prst="triangle">
            <a:avLst/>
          </a:prstGeom>
          <a:solidFill>
            <a:schemeClr val="accent2"/>
          </a:solidFill>
          <a:ln w="9525">
            <a:noFill/>
            <a:round/>
            <a:headEnd type="arrow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vert270" rtlCol="0" anchor="ctr"/>
          <a:lstStyle/>
          <a:p>
            <a:pPr algn="ctr"/>
            <a:r>
              <a:rPr lang="de-DE" dirty="0">
                <a:solidFill>
                  <a:schemeClr val="bg1"/>
                </a:solidFill>
                <a:latin typeface="+mj-lt"/>
              </a:rPr>
              <a:t>Tools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C14FD15D-90BF-EBDC-3CD4-A04BA9B87271}"/>
              </a:ext>
            </a:extLst>
          </p:cNvPr>
          <p:cNvSpPr>
            <a:spLocks/>
          </p:cNvSpPr>
          <p:nvPr/>
        </p:nvSpPr>
        <p:spPr bwMode="gray">
          <a:xfrm>
            <a:off x="3777353" y="5092265"/>
            <a:ext cx="7971080" cy="885944"/>
          </a:xfrm>
          <a:prstGeom prst="rect">
            <a:avLst/>
          </a:prstGeom>
          <a:solidFill>
            <a:srgbClr val="E5EEF2"/>
          </a:solidFill>
          <a:ln w="9525">
            <a:noFill/>
            <a:round/>
            <a:headEnd type="arrow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ot="0" spcFirstLastPara="0" vertOverflow="overflow" horzOverflow="overflow" vert="horz" wrap="square" lIns="540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400" b="1" dirty="0"/>
              <a:t>Trainings on Policy Evaluation &amp; Analysis Tools</a:t>
            </a:r>
          </a:p>
          <a:p>
            <a:pPr lvl="0">
              <a:lnSpc>
                <a:spcPct val="110000"/>
              </a:lnSpc>
              <a:defRPr/>
            </a:pPr>
            <a:r>
              <a:rPr lang="de-DE" sz="1400" b="1" dirty="0"/>
              <a:t>Trainings on </a:t>
            </a:r>
            <a:r>
              <a:rPr lang="de-DE" sz="1400" b="1" dirty="0" err="1"/>
              <a:t>Indicators</a:t>
            </a:r>
            <a:r>
              <a:rPr lang="de-DE" sz="1400" b="1" dirty="0"/>
              <a:t> &amp; Analysis Tools</a:t>
            </a:r>
            <a:endParaRPr lang="en-US" sz="1400" dirty="0"/>
          </a:p>
          <a:p>
            <a:pPr lvl="0">
              <a:lnSpc>
                <a:spcPct val="110000"/>
              </a:lnSpc>
              <a:defRPr/>
            </a:pPr>
            <a:r>
              <a:rPr lang="en-US" sz="1400" b="1" dirty="0"/>
              <a:t>Experience exchange through (Physical) Seminars &amp;  Webinars</a:t>
            </a:r>
            <a:endParaRPr lang="de-DE" sz="1400" b="1" dirty="0"/>
          </a:p>
        </p:txBody>
      </p:sp>
      <p:sp>
        <p:nvSpPr>
          <p:cNvPr id="10" name="Gleichschenkliges Dreieck 9">
            <a:extLst>
              <a:ext uri="{FF2B5EF4-FFF2-40B4-BE49-F238E27FC236}">
                <a16:creationId xmlns:a16="http://schemas.microsoft.com/office/drawing/2014/main" id="{1D098CDE-DD1D-8577-B0CC-A626EB3926DC}"/>
              </a:ext>
            </a:extLst>
          </p:cNvPr>
          <p:cNvSpPr>
            <a:spLocks/>
          </p:cNvSpPr>
          <p:nvPr/>
        </p:nvSpPr>
        <p:spPr bwMode="gray">
          <a:xfrm rot="5400000">
            <a:off x="2458756" y="4340681"/>
            <a:ext cx="900000" cy="2339207"/>
          </a:xfrm>
          <a:prstGeom prst="triangle">
            <a:avLst/>
          </a:prstGeom>
          <a:solidFill>
            <a:schemeClr val="accent2"/>
          </a:solidFill>
          <a:ln w="9525">
            <a:noFill/>
            <a:round/>
            <a:headEnd type="arrow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vert270" rtlCol="0" anchor="ctr"/>
          <a:lstStyle/>
          <a:p>
            <a:pPr algn="ctr"/>
            <a:r>
              <a:rPr lang="de-DE" dirty="0">
                <a:solidFill>
                  <a:schemeClr val="bg1"/>
                </a:solidFill>
                <a:latin typeface="+mj-lt"/>
              </a:rPr>
              <a:t>Trainings</a:t>
            </a:r>
          </a:p>
        </p:txBody>
      </p:sp>
    </p:spTree>
    <p:extLst>
      <p:ext uri="{BB962C8B-B14F-4D97-AF65-F5344CB8AC3E}">
        <p14:creationId xmlns:p14="http://schemas.microsoft.com/office/powerpoint/2010/main" val="359274659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16" grpId="0" animBg="1"/>
      <p:bldP spid="17" grpId="0" animBg="1"/>
      <p:bldP spid="20" grpId="0" animBg="1"/>
      <p:bldP spid="21" grpId="0" animBg="1"/>
      <p:bldP spid="4" grpId="0" animBg="1"/>
      <p:bldP spid="8" grpId="0" animBg="1"/>
      <p:bldP spid="10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D386BF06-4FE5-4ECB-9E48-683B65D8E9F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483622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D386BF06-4FE5-4ECB-9E48-683B65D8E9F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platzhalter 5">
            <a:extLst>
              <a:ext uri="{FF2B5EF4-FFF2-40B4-BE49-F238E27FC236}">
                <a16:creationId xmlns:a16="http://schemas.microsoft.com/office/drawing/2014/main" id="{837DBD4C-23EA-4997-B274-B0674ADF01A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403225" y="3281363"/>
            <a:ext cx="5916612" cy="3213572"/>
          </a:xfrm>
        </p:spPr>
        <p:txBody>
          <a:bodyPr/>
          <a:lstStyle/>
          <a:p>
            <a:r>
              <a:rPr lang="de-DE" dirty="0"/>
              <a:t>Contact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Wolfgang Eichhammer</a:t>
            </a:r>
          </a:p>
          <a:p>
            <a:pPr lvl="2"/>
            <a:r>
              <a:rPr lang="de-DE" dirty="0"/>
              <a:t>Fraunhofer ISI / IEECP / Utrecht University</a:t>
            </a:r>
          </a:p>
          <a:p>
            <a:pPr lvl="2"/>
            <a:r>
              <a:rPr lang="de-DE" dirty="0"/>
              <a:t>Wolfgang.eichhammer@isi.fraunhofer.de</a:t>
            </a:r>
          </a:p>
          <a:p>
            <a:pPr lvl="2"/>
            <a:endParaRPr lang="de-DE" dirty="0"/>
          </a:p>
          <a:p>
            <a:pPr lvl="3"/>
            <a:r>
              <a:rPr lang="de-DE" dirty="0"/>
              <a:t>Fraunhofer-Institut für System- und Innovationsforschung ISI</a:t>
            </a:r>
          </a:p>
          <a:p>
            <a:pPr lvl="3"/>
            <a:r>
              <a:rPr lang="pt-BR" dirty="0"/>
              <a:t>Breslauer Straße 48</a:t>
            </a:r>
          </a:p>
          <a:p>
            <a:pPr lvl="3"/>
            <a:r>
              <a:rPr lang="pt-BR" dirty="0"/>
              <a:t>76139 Karlsruhe</a:t>
            </a:r>
          </a:p>
          <a:p>
            <a:pPr lvl="3"/>
            <a:r>
              <a:rPr lang="pt-BR" dirty="0"/>
              <a:t>www.isi.fraunhofer.de</a:t>
            </a:r>
          </a:p>
        </p:txBody>
      </p:sp>
      <p:sp>
        <p:nvSpPr>
          <p:cNvPr id="2" name="Textplatzhalter 2">
            <a:extLst>
              <a:ext uri="{FF2B5EF4-FFF2-40B4-BE49-F238E27FC236}">
                <a16:creationId xmlns:a16="http://schemas.microsoft.com/office/drawing/2014/main" id="{BCEAB671-0F65-7ACB-9D62-FEAD37847249}"/>
              </a:ext>
            </a:extLst>
          </p:cNvPr>
          <p:cNvSpPr txBox="1">
            <a:spLocks/>
          </p:cNvSpPr>
          <p:nvPr/>
        </p:nvSpPr>
        <p:spPr bwMode="gray">
          <a:xfrm>
            <a:off x="2735262" y="2202413"/>
            <a:ext cx="6721475" cy="1078950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3500"/>
              </a:lnSpc>
              <a:spcBef>
                <a:spcPts val="0"/>
              </a:spcBef>
              <a:spcAft>
                <a:spcPts val="1600"/>
              </a:spcAft>
              <a:buFont typeface="Arial" panose="020B0604020202020204" pitchFamily="34" charset="0"/>
              <a:buNone/>
              <a:defRPr sz="4160" b="0" kern="1200">
                <a:solidFill>
                  <a:schemeClr val="bg1"/>
                </a:solidFill>
                <a:latin typeface="Frutiger LT Com 75 Black" panose="020B0A03040504030204" pitchFamily="34" charset="0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3600" b="1" dirty="0" err="1"/>
              <a:t>Thank</a:t>
            </a:r>
            <a:r>
              <a:rPr lang="de-DE" sz="3600" b="1" dirty="0"/>
              <a:t> </a:t>
            </a:r>
            <a:r>
              <a:rPr lang="de-DE" sz="3600" b="1" dirty="0" err="1"/>
              <a:t>you</a:t>
            </a:r>
            <a:r>
              <a:rPr lang="de-DE" sz="3600" b="1" dirty="0"/>
              <a:t> </a:t>
            </a:r>
            <a:r>
              <a:rPr lang="de-DE" sz="3600" b="1" dirty="0" err="1"/>
              <a:t>for</a:t>
            </a:r>
            <a:r>
              <a:rPr lang="de-DE" sz="3600" b="1" dirty="0"/>
              <a:t> </a:t>
            </a:r>
            <a:r>
              <a:rPr lang="de-DE" sz="3600" b="1" dirty="0" err="1"/>
              <a:t>your</a:t>
            </a:r>
            <a:r>
              <a:rPr lang="de-DE" sz="3600" b="1" dirty="0"/>
              <a:t> </a:t>
            </a:r>
            <a:r>
              <a:rPr lang="de-DE" sz="3600" b="1" dirty="0" err="1"/>
              <a:t>attention</a:t>
            </a:r>
            <a:r>
              <a:rPr lang="de-DE" sz="3600" b="1" dirty="0"/>
              <a:t>!</a:t>
            </a:r>
          </a:p>
          <a:p>
            <a:pPr lvl="1"/>
            <a:r>
              <a:rPr lang="de-DE" sz="4400" b="1" dirty="0"/>
              <a:t>						  —</a:t>
            </a:r>
          </a:p>
        </p:txBody>
      </p:sp>
    </p:spTree>
    <p:extLst>
      <p:ext uri="{BB962C8B-B14F-4D97-AF65-F5344CB8AC3E}">
        <p14:creationId xmlns:p14="http://schemas.microsoft.com/office/powerpoint/2010/main" val="149315275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Fraunhofer_Master_16-9">
  <a:themeElements>
    <a:clrScheme name="Fraunhofer_Color">
      <a:dk1>
        <a:sysClr val="windowText" lastClr="000000"/>
      </a:dk1>
      <a:lt1>
        <a:sysClr val="window" lastClr="FFFFFF"/>
      </a:lt1>
      <a:dk2>
        <a:srgbClr val="F58220"/>
      </a:dk2>
      <a:lt2>
        <a:srgbClr val="A6BBC8"/>
      </a:lt2>
      <a:accent1>
        <a:srgbClr val="179C7D"/>
      </a:accent1>
      <a:accent2>
        <a:srgbClr val="005B7F"/>
      </a:accent2>
      <a:accent3>
        <a:srgbClr val="A6BBC8"/>
      </a:accent3>
      <a:accent4>
        <a:srgbClr val="008598"/>
      </a:accent4>
      <a:accent5>
        <a:srgbClr val="39C1CD"/>
      </a:accent5>
      <a:accent6>
        <a:srgbClr val="B2D235"/>
      </a:accent6>
      <a:hlink>
        <a:srgbClr val="179C7D"/>
      </a:hlink>
      <a:folHlink>
        <a:srgbClr val="005B7F"/>
      </a:folHlink>
    </a:clrScheme>
    <a:fontScheme name="Fraunhofer_Fonts">
      <a:majorFont>
        <a:latin typeface="Frutiger LT Com 65 Bold"/>
        <a:ea typeface=""/>
        <a:cs typeface=""/>
      </a:majorFont>
      <a:minorFont>
        <a:latin typeface="Frutiger LT Com 45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CCDEE5"/>
        </a:solidFill>
        <a:ln w="9525">
          <a:noFill/>
        </a:ln>
      </a:spPr>
      <a:bodyPr lIns="108000" tIns="108000" rIns="108000" bIns="108000" rtlCol="0" anchor="ctr"/>
      <a:lstStyle>
        <a:defPPr marL="180000" indent="-180000" algn="l">
          <a:lnSpc>
            <a:spcPts val="1960"/>
          </a:lnSpc>
          <a:buClr>
            <a:schemeClr val="accent1"/>
          </a:buClr>
          <a:buFont typeface="Wingdings" panose="05000000000000000000" pitchFamily="2" charset="2"/>
          <a:buChar char="§"/>
          <a:defRPr sz="14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bg2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marL="180000" indent="-180000" algn="l">
          <a:lnSpc>
            <a:spcPts val="1960"/>
          </a:lnSpc>
          <a:buClr>
            <a:schemeClr val="accent1"/>
          </a:buClr>
          <a:buFont typeface="Wingdings" panose="05000000000000000000" pitchFamily="2" charset="2"/>
          <a:buChar char="§"/>
          <a:defRPr sz="1400" dirty="0" smtClean="0"/>
        </a:defPPr>
      </a:lstStyle>
    </a:txDef>
  </a:objectDefaults>
  <a:extraClrSchemeLst/>
  <a:custClrLst>
    <a:custClr>
      <a:srgbClr val="179C7D"/>
    </a:custClr>
    <a:custClr>
      <a:srgbClr val="005B7F"/>
    </a:custClr>
    <a:custClr>
      <a:srgbClr val="A6BBC8"/>
    </a:custClr>
    <a:custClr>
      <a:srgbClr val="F58220"/>
    </a:custClr>
    <a:custClr>
      <a:srgbClr val="FFFFFF"/>
    </a:custClr>
    <a:custClr>
      <a:srgbClr val="337C99"/>
    </a:custClr>
    <a:custClr>
      <a:srgbClr val="669DB2"/>
    </a:custClr>
    <a:custClr>
      <a:srgbClr val="99BDCC"/>
    </a:custClr>
    <a:custClr>
      <a:srgbClr val="CCDEE5"/>
    </a:custClr>
    <a:custClr>
      <a:srgbClr val="E5EEF2"/>
    </a:custClr>
    <a:custClr>
      <a:srgbClr val="1C3F52"/>
    </a:custClr>
    <a:custClr>
      <a:srgbClr val="D3C7AE"/>
    </a:custClr>
    <a:custClr>
      <a:srgbClr val="008598"/>
    </a:custClr>
    <a:custClr>
      <a:srgbClr val="39C1CD"/>
    </a:custClr>
    <a:custClr>
      <a:srgbClr val="B2D235"/>
    </a:custClr>
    <a:custClr>
      <a:srgbClr val="FDB913"/>
    </a:custClr>
    <a:custClr>
      <a:srgbClr val="BB0056"/>
    </a:custClr>
    <a:custClr>
      <a:srgbClr val="7C154D"/>
    </a:custClr>
    <a:custClr>
      <a:srgbClr val="FFFFFF"/>
    </a:custClr>
    <a:custClr>
      <a:srgbClr val="FFFFFF"/>
    </a:custClr>
  </a:custClrLst>
  <a:extLst>
    <a:ext uri="{05A4C25C-085E-4340-85A3-A5531E510DB2}">
      <thm15:themeFamily xmlns:thm15="http://schemas.microsoft.com/office/thememl/2012/main" name="PP_Fraunhofer_Master_16-9_ISI_DE_public.potx" id="{D47CA31D-7D04-4837-AE78-2FD9B6D13DC8}" vid="{00EC367D-CBD7-4DCA-BDCC-BB782D56B50D}"/>
    </a:ext>
  </a:extLst>
</a:theme>
</file>

<file path=ppt/theme/theme2.xml><?xml version="1.0" encoding="utf-8"?>
<a:theme xmlns:a="http://schemas.openxmlformats.org/drawingml/2006/main" name="Office">
  <a:themeElements>
    <a:clrScheme name="Fraunhofer_Color">
      <a:dk1>
        <a:sysClr val="windowText" lastClr="000000"/>
      </a:dk1>
      <a:lt1>
        <a:sysClr val="window" lastClr="FFFFFF"/>
      </a:lt1>
      <a:dk2>
        <a:srgbClr val="F58220"/>
      </a:dk2>
      <a:lt2>
        <a:srgbClr val="A6BBC8"/>
      </a:lt2>
      <a:accent1>
        <a:srgbClr val="179C7D"/>
      </a:accent1>
      <a:accent2>
        <a:srgbClr val="005B7F"/>
      </a:accent2>
      <a:accent3>
        <a:srgbClr val="A6BBC8"/>
      </a:accent3>
      <a:accent4>
        <a:srgbClr val="008598"/>
      </a:accent4>
      <a:accent5>
        <a:srgbClr val="39C1CD"/>
      </a:accent5>
      <a:accent6>
        <a:srgbClr val="B2D235"/>
      </a:accent6>
      <a:hlink>
        <a:srgbClr val="179C7D"/>
      </a:hlink>
      <a:folHlink>
        <a:srgbClr val="005B7F"/>
      </a:folHlink>
    </a:clrScheme>
    <a:fontScheme name="Fraunhofer_Fonts">
      <a:majorFont>
        <a:latin typeface="Frutiger LT Com 65 Bold"/>
        <a:ea typeface=""/>
        <a:cs typeface=""/>
      </a:majorFont>
      <a:minorFont>
        <a:latin typeface="Frutiger LT Com 45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Fraunhofer_Color">
      <a:dk1>
        <a:sysClr val="windowText" lastClr="000000"/>
      </a:dk1>
      <a:lt1>
        <a:sysClr val="window" lastClr="FFFFFF"/>
      </a:lt1>
      <a:dk2>
        <a:srgbClr val="F58220"/>
      </a:dk2>
      <a:lt2>
        <a:srgbClr val="A6BBC8"/>
      </a:lt2>
      <a:accent1>
        <a:srgbClr val="179C7D"/>
      </a:accent1>
      <a:accent2>
        <a:srgbClr val="005B7F"/>
      </a:accent2>
      <a:accent3>
        <a:srgbClr val="A6BBC8"/>
      </a:accent3>
      <a:accent4>
        <a:srgbClr val="008598"/>
      </a:accent4>
      <a:accent5>
        <a:srgbClr val="39C1CD"/>
      </a:accent5>
      <a:accent6>
        <a:srgbClr val="B2D235"/>
      </a:accent6>
      <a:hlink>
        <a:srgbClr val="179C7D"/>
      </a:hlink>
      <a:folHlink>
        <a:srgbClr val="005B7F"/>
      </a:folHlink>
    </a:clrScheme>
    <a:fontScheme name="Fraunhofer_Fonts">
      <a:majorFont>
        <a:latin typeface="Frutiger LT Com 65 Bold"/>
        <a:ea typeface=""/>
        <a:cs typeface=""/>
      </a:majorFont>
      <a:minorFont>
        <a:latin typeface="Frutiger LT Com 45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72C575F93035DC49ACEC4BA479D5C345" ma:contentTypeVersion="2" ma:contentTypeDescription="Ein neues Dokument erstellen." ma:contentTypeScope="" ma:versionID="63167d1e6771e8286c1d51159174c9d2">
  <xsd:schema xmlns:xsd="http://www.w3.org/2001/XMLSchema" xmlns:xs="http://www.w3.org/2001/XMLSchema" xmlns:p="http://schemas.microsoft.com/office/2006/metadata/properties" xmlns:ns2="e85430e1-2a02-464d-9ea0-16ae76420866" targetNamespace="http://schemas.microsoft.com/office/2006/metadata/properties" ma:root="true" ma:fieldsID="58f9840347ac7edb2cf60246186c2118" ns2:_="">
    <xsd:import namespace="e85430e1-2a02-464d-9ea0-16ae76420866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85430e1-2a02-464d-9ea0-16ae7642086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A5825797-FA91-4627-AB7A-38637E8A91B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85430e1-2a02-464d-9ea0-16ae76420866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43EE7905-1AE4-483A-8087-5A84576BC5C8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EC2C50B6-1067-417A-81FE-D1A41986C17E}">
  <ds:schemaRefs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e85430e1-2a02-464d-9ea0-16ae76420866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ECS_ IPR webinar energy efficiency </Template>
  <TotalTime>0</TotalTime>
  <Words>397</Words>
  <Application>Microsoft Office PowerPoint</Application>
  <PresentationFormat>Breitbild</PresentationFormat>
  <Paragraphs>74</Paragraphs>
  <Slides>8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8</vt:i4>
      </vt:variant>
    </vt:vector>
  </HeadingPairs>
  <TitlesOfParts>
    <vt:vector size="15" baseType="lpstr">
      <vt:lpstr>Arial</vt:lpstr>
      <vt:lpstr>Frutiger LT Com 45 Light</vt:lpstr>
      <vt:lpstr>Frutiger LT Com 65 Bold</vt:lpstr>
      <vt:lpstr>Frutiger LT Com 75 Black</vt:lpstr>
      <vt:lpstr>Wingdings</vt:lpstr>
      <vt:lpstr>Fraunhofer_Master_16-9</vt:lpstr>
      <vt:lpstr>think-cell Folie</vt:lpstr>
      <vt:lpstr>PowerPoint-Präsentation</vt:lpstr>
      <vt:lpstr>ODYSSEE-MURE project</vt:lpstr>
      <vt:lpstr>ODYSSEE-MURE project</vt:lpstr>
      <vt:lpstr>ODYSSEE-MURE project</vt:lpstr>
      <vt:lpstr>ODYSSEE-MURE project</vt:lpstr>
      <vt:lpstr>ODYSSEE-MURE project</vt:lpstr>
      <vt:lpstr>Support for Progress Reports</vt:lpstr>
      <vt:lpstr>PowerPoint-Präsentation</vt:lpstr>
    </vt:vector>
  </TitlesOfParts>
  <Company>Fraunhofer ISI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Reinfandt, Niklas</dc:creator>
  <cp:lastModifiedBy>Eichhammer, Wolfgang</cp:lastModifiedBy>
  <cp:revision>34</cp:revision>
  <dcterms:created xsi:type="dcterms:W3CDTF">2025-10-23T11:30:02Z</dcterms:created>
  <dcterms:modified xsi:type="dcterms:W3CDTF">2025-11-03T14:07:4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2C575F93035DC49ACEC4BA479D5C345</vt:lpwstr>
  </property>
</Properties>
</file>